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84" r:id="rId2"/>
    <p:sldId id="292" r:id="rId3"/>
    <p:sldId id="274" r:id="rId4"/>
    <p:sldId id="293" r:id="rId5"/>
    <p:sldId id="275" r:id="rId6"/>
    <p:sldId id="276" r:id="rId7"/>
    <p:sldId id="277" r:id="rId8"/>
    <p:sldId id="285" r:id="rId9"/>
    <p:sldId id="294" r:id="rId10"/>
    <p:sldId id="286" r:id="rId11"/>
    <p:sldId id="287" r:id="rId12"/>
    <p:sldId id="288" r:id="rId13"/>
    <p:sldId id="289" r:id="rId14"/>
    <p:sldId id="290" r:id="rId15"/>
    <p:sldId id="291" r:id="rId16"/>
    <p:sldId id="280" r:id="rId17"/>
    <p:sldId id="278" r:id="rId18"/>
    <p:sldId id="281" r:id="rId19"/>
    <p:sldId id="295" r:id="rId20"/>
    <p:sldId id="283" r:id="rId21"/>
  </p:sldIdLst>
  <p:sldSz cx="12192000" cy="6858000"/>
  <p:notesSz cx="6858000" cy="9144000"/>
  <p:custDataLst>
    <p:tags r:id="rId24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6816">
          <p15:clr>
            <a:srgbClr val="A4A3A4"/>
          </p15:clr>
        </p15:guide>
        <p15:guide id="4" pos="81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9DE"/>
    <a:srgbClr val="005395"/>
    <a:srgbClr val="C412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79619" autoAdjust="0"/>
  </p:normalViewPr>
  <p:slideViewPr>
    <p:cSldViewPr>
      <p:cViewPr>
        <p:scale>
          <a:sx n="81" d="100"/>
          <a:sy n="81" d="100"/>
        </p:scale>
        <p:origin x="-174" y="-36"/>
      </p:cViewPr>
      <p:guideLst>
        <p:guide orient="horz" pos="2160"/>
        <p:guide pos="3840"/>
        <p:guide pos="6816"/>
        <p:guide pos="81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355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89327D-CD84-4AF3-B9B3-AF7E8C157249}" type="doc">
      <dgm:prSet loTypeId="urn:microsoft.com/office/officeart/2005/8/layout/bList2" loCatId="list" qsTypeId="urn:microsoft.com/office/officeart/2005/8/quickstyle/3d5" qsCatId="3D" csTypeId="urn:microsoft.com/office/officeart/2005/8/colors/accent3_1" csCatId="accent3" phldr="1"/>
      <dgm:spPr/>
      <dgm:t>
        <a:bodyPr/>
        <a:lstStyle/>
        <a:p>
          <a:endParaRPr lang="en-US"/>
        </a:p>
      </dgm:t>
    </dgm:pt>
    <dgm:pt modelId="{8BF85ACA-2CCE-4DD5-AD1E-ED0F0CF630E5}">
      <dgm:prSet phldrT="[Text]"/>
      <dgm:spPr/>
      <dgm:t>
        <a:bodyPr/>
        <a:lstStyle/>
        <a:p>
          <a:r>
            <a:rPr lang="sr-Latn-RS" dirty="0" smtClean="0"/>
            <a:t>Tekst</a:t>
          </a:r>
          <a:endParaRPr lang="en-US" dirty="0"/>
        </a:p>
      </dgm:t>
    </dgm:pt>
    <dgm:pt modelId="{ADD04B25-B150-495B-9482-B77541F65FCC}" type="parTrans" cxnId="{22A72E9E-2A41-4EB9-99B4-55F75A776490}">
      <dgm:prSet/>
      <dgm:spPr/>
      <dgm:t>
        <a:bodyPr/>
        <a:lstStyle/>
        <a:p>
          <a:endParaRPr lang="en-US"/>
        </a:p>
      </dgm:t>
    </dgm:pt>
    <dgm:pt modelId="{D894EDC2-A3C7-4BB0-943B-D5CAA480946E}" type="sibTrans" cxnId="{22A72E9E-2A41-4EB9-99B4-55F75A776490}">
      <dgm:prSet/>
      <dgm:spPr/>
      <dgm:t>
        <a:bodyPr/>
        <a:lstStyle/>
        <a:p>
          <a:endParaRPr lang="en-US"/>
        </a:p>
      </dgm:t>
    </dgm:pt>
    <dgm:pt modelId="{9D258139-9E74-45A4-8CEA-CF666DB3A558}">
      <dgm:prSet phldrT="[Text]"/>
      <dgm:spPr/>
      <dgm:t>
        <a:bodyPr/>
        <a:lstStyle/>
        <a:p>
          <a:r>
            <a:rPr lang="sr-Latn-RS" dirty="0" smtClean="0"/>
            <a:t>Tekst</a:t>
          </a:r>
          <a:endParaRPr lang="en-US" dirty="0"/>
        </a:p>
      </dgm:t>
    </dgm:pt>
    <dgm:pt modelId="{864AB522-0E02-45A8-BD72-B259613EAF08}" type="parTrans" cxnId="{2F5B9060-669B-4436-A3E6-4B13F34C6CE3}">
      <dgm:prSet/>
      <dgm:spPr/>
      <dgm:t>
        <a:bodyPr/>
        <a:lstStyle/>
        <a:p>
          <a:endParaRPr lang="en-US"/>
        </a:p>
      </dgm:t>
    </dgm:pt>
    <dgm:pt modelId="{59F993CC-1001-4745-BD47-7570ADD1D652}" type="sibTrans" cxnId="{2F5B9060-669B-4436-A3E6-4B13F34C6CE3}">
      <dgm:prSet/>
      <dgm:spPr/>
      <dgm:t>
        <a:bodyPr/>
        <a:lstStyle/>
        <a:p>
          <a:endParaRPr lang="en-US"/>
        </a:p>
      </dgm:t>
    </dgm:pt>
    <dgm:pt modelId="{2F1FB99F-0382-420F-99F4-E185FD8DD731}">
      <dgm:prSet phldrT="[Text]"/>
      <dgm:spPr/>
      <dgm:t>
        <a:bodyPr/>
        <a:lstStyle/>
        <a:p>
          <a:r>
            <a:rPr lang="sr-Latn-RS" dirty="0" smtClean="0"/>
            <a:t>Tekst</a:t>
          </a:r>
          <a:endParaRPr lang="en-US" dirty="0"/>
        </a:p>
      </dgm:t>
    </dgm:pt>
    <dgm:pt modelId="{7D9EBE66-18A3-459A-A316-8956FDB0E8ED}" type="parTrans" cxnId="{E267B2D0-587B-4083-AB11-60A40980AF76}">
      <dgm:prSet/>
      <dgm:spPr/>
      <dgm:t>
        <a:bodyPr/>
        <a:lstStyle/>
        <a:p>
          <a:endParaRPr lang="en-US"/>
        </a:p>
      </dgm:t>
    </dgm:pt>
    <dgm:pt modelId="{0DAC84A9-4FFC-4DB1-860C-8294B987372B}" type="sibTrans" cxnId="{E267B2D0-587B-4083-AB11-60A40980AF76}">
      <dgm:prSet/>
      <dgm:spPr/>
      <dgm:t>
        <a:bodyPr/>
        <a:lstStyle/>
        <a:p>
          <a:endParaRPr lang="en-US"/>
        </a:p>
      </dgm:t>
    </dgm:pt>
    <dgm:pt modelId="{CBD90D44-AA99-4B9F-9606-CD9363394890}" type="pres">
      <dgm:prSet presAssocID="{D889327D-CD84-4AF3-B9B3-AF7E8C157249}" presName="diagram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79BAD40-822A-4157-9488-874B573A038D}" type="pres">
      <dgm:prSet presAssocID="{8BF85ACA-2CCE-4DD5-AD1E-ED0F0CF630E5}" presName="compNode" presStyleCnt="0"/>
      <dgm:spPr/>
    </dgm:pt>
    <dgm:pt modelId="{B9EF70BB-F15F-4496-BC7A-1A9BC7C33138}" type="pres">
      <dgm:prSet presAssocID="{8BF85ACA-2CCE-4DD5-AD1E-ED0F0CF630E5}" presName="childRect" presStyleLbl="bgAcc1" presStyleIdx="0" presStyleCnt="3">
        <dgm:presLayoutVars>
          <dgm:bulletEnabled val="1"/>
        </dgm:presLayoutVars>
      </dgm:prSet>
      <dgm:spPr/>
    </dgm:pt>
    <dgm:pt modelId="{950678AD-CEC9-4EB5-9DC9-479A12983A76}" type="pres">
      <dgm:prSet presAssocID="{8BF85ACA-2CCE-4DD5-AD1E-ED0F0CF630E5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867782-6D27-4D90-832F-E8F345F71868}" type="pres">
      <dgm:prSet presAssocID="{8BF85ACA-2CCE-4DD5-AD1E-ED0F0CF630E5}" presName="parentRect" presStyleLbl="alignNode1" presStyleIdx="0" presStyleCnt="3"/>
      <dgm:spPr/>
      <dgm:t>
        <a:bodyPr/>
        <a:lstStyle/>
        <a:p>
          <a:endParaRPr lang="en-US"/>
        </a:p>
      </dgm:t>
    </dgm:pt>
    <dgm:pt modelId="{446DFD0D-024D-4334-A781-405AED64CEE5}" type="pres">
      <dgm:prSet presAssocID="{8BF85ACA-2CCE-4DD5-AD1E-ED0F0CF630E5}" presName="adorn" presStyleLbl="fgAccFollowNode1" presStyleIdx="0" presStyleCnt="3"/>
      <dgm:spPr/>
    </dgm:pt>
    <dgm:pt modelId="{3A96CFA6-985E-444A-8620-FE4526EBA226}" type="pres">
      <dgm:prSet presAssocID="{D894EDC2-A3C7-4BB0-943B-D5CAA480946E}" presName="sibTrans" presStyleLbl="sibTrans2D1" presStyleIdx="0" presStyleCnt="0"/>
      <dgm:spPr/>
      <dgm:t>
        <a:bodyPr/>
        <a:lstStyle/>
        <a:p>
          <a:endParaRPr lang="en-US"/>
        </a:p>
      </dgm:t>
    </dgm:pt>
    <dgm:pt modelId="{F750CC52-2D25-4628-9F93-0AA2C7A45AE0}" type="pres">
      <dgm:prSet presAssocID="{9D258139-9E74-45A4-8CEA-CF666DB3A558}" presName="compNode" presStyleCnt="0"/>
      <dgm:spPr/>
    </dgm:pt>
    <dgm:pt modelId="{B811744A-FAD7-42FA-A33F-CC7CB800F2EF}" type="pres">
      <dgm:prSet presAssocID="{9D258139-9E74-45A4-8CEA-CF666DB3A558}" presName="childRect" presStyleLbl="bgAcc1" presStyleIdx="1" presStyleCnt="3">
        <dgm:presLayoutVars>
          <dgm:bulletEnabled val="1"/>
        </dgm:presLayoutVars>
      </dgm:prSet>
      <dgm:spPr/>
    </dgm:pt>
    <dgm:pt modelId="{C5C2C895-16E9-4354-AFE5-88259A37960E}" type="pres">
      <dgm:prSet presAssocID="{9D258139-9E74-45A4-8CEA-CF666DB3A558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DF3712-547B-4FB0-9C3F-687817DE64B4}" type="pres">
      <dgm:prSet presAssocID="{9D258139-9E74-45A4-8CEA-CF666DB3A558}" presName="parentRect" presStyleLbl="alignNode1" presStyleIdx="1" presStyleCnt="3"/>
      <dgm:spPr/>
      <dgm:t>
        <a:bodyPr/>
        <a:lstStyle/>
        <a:p>
          <a:endParaRPr lang="en-US"/>
        </a:p>
      </dgm:t>
    </dgm:pt>
    <dgm:pt modelId="{B6F04303-BBCF-418B-8F8C-E74D55067356}" type="pres">
      <dgm:prSet presAssocID="{9D258139-9E74-45A4-8CEA-CF666DB3A558}" presName="adorn" presStyleLbl="fgAccFollowNode1" presStyleIdx="1" presStyleCnt="3"/>
      <dgm:spPr/>
    </dgm:pt>
    <dgm:pt modelId="{D1A6F760-376B-48AF-96B3-E5B6178AB7FC}" type="pres">
      <dgm:prSet presAssocID="{59F993CC-1001-4745-BD47-7570ADD1D652}" presName="sibTrans" presStyleLbl="sibTrans2D1" presStyleIdx="0" presStyleCnt="0"/>
      <dgm:spPr/>
      <dgm:t>
        <a:bodyPr/>
        <a:lstStyle/>
        <a:p>
          <a:endParaRPr lang="en-US"/>
        </a:p>
      </dgm:t>
    </dgm:pt>
    <dgm:pt modelId="{9CB52431-7B18-47FC-83DB-F7FCAFD8D696}" type="pres">
      <dgm:prSet presAssocID="{2F1FB99F-0382-420F-99F4-E185FD8DD731}" presName="compNode" presStyleCnt="0"/>
      <dgm:spPr/>
    </dgm:pt>
    <dgm:pt modelId="{6D908306-EBA4-4BF2-9A69-32D7DDDDB82F}" type="pres">
      <dgm:prSet presAssocID="{2F1FB99F-0382-420F-99F4-E185FD8DD731}" presName="childRect" presStyleLbl="bgAcc1" presStyleIdx="2" presStyleCnt="3">
        <dgm:presLayoutVars>
          <dgm:bulletEnabled val="1"/>
        </dgm:presLayoutVars>
      </dgm:prSet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D69DAF52-C77A-4050-AEF9-AD41CBBDA295}" type="pres">
      <dgm:prSet presAssocID="{2F1FB99F-0382-420F-99F4-E185FD8DD731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8264E5-8042-48A7-8240-91078C4253FB}" type="pres">
      <dgm:prSet presAssocID="{2F1FB99F-0382-420F-99F4-E185FD8DD731}" presName="parentRect" presStyleLbl="alignNode1" presStyleIdx="2" presStyleCnt="3"/>
      <dgm:spPr/>
      <dgm:t>
        <a:bodyPr/>
        <a:lstStyle/>
        <a:p>
          <a:endParaRPr lang="en-US"/>
        </a:p>
      </dgm:t>
    </dgm:pt>
    <dgm:pt modelId="{12E05B9D-F347-492B-BE90-6D9756DC7C89}" type="pres">
      <dgm:prSet presAssocID="{2F1FB99F-0382-420F-99F4-E185FD8DD731}" presName="adorn" presStyleLbl="fgAccFollowNode1" presStyleIdx="2" presStyleCnt="3"/>
      <dgm:spPr/>
    </dgm:pt>
  </dgm:ptLst>
  <dgm:cxnLst>
    <dgm:cxn modelId="{CB6F6918-FA16-4F7A-A3AC-4981545603C2}" type="presOf" srcId="{D889327D-CD84-4AF3-B9B3-AF7E8C157249}" destId="{CBD90D44-AA99-4B9F-9606-CD9363394890}" srcOrd="0" destOrd="0" presId="urn:microsoft.com/office/officeart/2005/8/layout/bList2"/>
    <dgm:cxn modelId="{5675B03E-4017-42C7-A38E-16CFE22EA618}" type="presOf" srcId="{59F993CC-1001-4745-BD47-7570ADD1D652}" destId="{D1A6F760-376B-48AF-96B3-E5B6178AB7FC}" srcOrd="0" destOrd="0" presId="urn:microsoft.com/office/officeart/2005/8/layout/bList2"/>
    <dgm:cxn modelId="{037FF2EE-AB1F-412B-B075-F97385606ADB}" type="presOf" srcId="{8BF85ACA-2CCE-4DD5-AD1E-ED0F0CF630E5}" destId="{950678AD-CEC9-4EB5-9DC9-479A12983A76}" srcOrd="0" destOrd="0" presId="urn:microsoft.com/office/officeart/2005/8/layout/bList2"/>
    <dgm:cxn modelId="{38A0E599-9291-4748-A797-5F62265FCB7D}" type="presOf" srcId="{2F1FB99F-0382-420F-99F4-E185FD8DD731}" destId="{0E8264E5-8042-48A7-8240-91078C4253FB}" srcOrd="1" destOrd="0" presId="urn:microsoft.com/office/officeart/2005/8/layout/bList2"/>
    <dgm:cxn modelId="{801824EB-FB82-4A9C-A4FC-A329F9AC6411}" type="presOf" srcId="{9D258139-9E74-45A4-8CEA-CF666DB3A558}" destId="{3BDF3712-547B-4FB0-9C3F-687817DE64B4}" srcOrd="1" destOrd="0" presId="urn:microsoft.com/office/officeart/2005/8/layout/bList2"/>
    <dgm:cxn modelId="{64791A4A-7B07-446B-A89E-63DC014160D6}" type="presOf" srcId="{2F1FB99F-0382-420F-99F4-E185FD8DD731}" destId="{D69DAF52-C77A-4050-AEF9-AD41CBBDA295}" srcOrd="0" destOrd="0" presId="urn:microsoft.com/office/officeart/2005/8/layout/bList2"/>
    <dgm:cxn modelId="{E267B2D0-587B-4083-AB11-60A40980AF76}" srcId="{D889327D-CD84-4AF3-B9B3-AF7E8C157249}" destId="{2F1FB99F-0382-420F-99F4-E185FD8DD731}" srcOrd="2" destOrd="0" parTransId="{7D9EBE66-18A3-459A-A316-8956FDB0E8ED}" sibTransId="{0DAC84A9-4FFC-4DB1-860C-8294B987372B}"/>
    <dgm:cxn modelId="{D00A8F8E-1E8B-4028-A777-F19811650F53}" type="presOf" srcId="{8BF85ACA-2CCE-4DD5-AD1E-ED0F0CF630E5}" destId="{2B867782-6D27-4D90-832F-E8F345F71868}" srcOrd="1" destOrd="0" presId="urn:microsoft.com/office/officeart/2005/8/layout/bList2"/>
    <dgm:cxn modelId="{295A5799-273B-49C4-8989-D9D5F8C17975}" type="presOf" srcId="{D894EDC2-A3C7-4BB0-943B-D5CAA480946E}" destId="{3A96CFA6-985E-444A-8620-FE4526EBA226}" srcOrd="0" destOrd="0" presId="urn:microsoft.com/office/officeart/2005/8/layout/bList2"/>
    <dgm:cxn modelId="{22A72E9E-2A41-4EB9-99B4-55F75A776490}" srcId="{D889327D-CD84-4AF3-B9B3-AF7E8C157249}" destId="{8BF85ACA-2CCE-4DD5-AD1E-ED0F0CF630E5}" srcOrd="0" destOrd="0" parTransId="{ADD04B25-B150-495B-9482-B77541F65FCC}" sibTransId="{D894EDC2-A3C7-4BB0-943B-D5CAA480946E}"/>
    <dgm:cxn modelId="{3E4E47ED-AAD5-4035-B77B-D4B9FCDF3F62}" type="presOf" srcId="{9D258139-9E74-45A4-8CEA-CF666DB3A558}" destId="{C5C2C895-16E9-4354-AFE5-88259A37960E}" srcOrd="0" destOrd="0" presId="urn:microsoft.com/office/officeart/2005/8/layout/bList2"/>
    <dgm:cxn modelId="{2F5B9060-669B-4436-A3E6-4B13F34C6CE3}" srcId="{D889327D-CD84-4AF3-B9B3-AF7E8C157249}" destId="{9D258139-9E74-45A4-8CEA-CF666DB3A558}" srcOrd="1" destOrd="0" parTransId="{864AB522-0E02-45A8-BD72-B259613EAF08}" sibTransId="{59F993CC-1001-4745-BD47-7570ADD1D652}"/>
    <dgm:cxn modelId="{205C5065-1264-453C-B12C-185D75FB0740}" type="presParOf" srcId="{CBD90D44-AA99-4B9F-9606-CD9363394890}" destId="{A79BAD40-822A-4157-9488-874B573A038D}" srcOrd="0" destOrd="0" presId="urn:microsoft.com/office/officeart/2005/8/layout/bList2"/>
    <dgm:cxn modelId="{1DD5A89E-E926-4161-96BB-BB272E941ED5}" type="presParOf" srcId="{A79BAD40-822A-4157-9488-874B573A038D}" destId="{B9EF70BB-F15F-4496-BC7A-1A9BC7C33138}" srcOrd="0" destOrd="0" presId="urn:microsoft.com/office/officeart/2005/8/layout/bList2"/>
    <dgm:cxn modelId="{FE40AA5E-0663-4AEF-955F-A85FD6D890AE}" type="presParOf" srcId="{A79BAD40-822A-4157-9488-874B573A038D}" destId="{950678AD-CEC9-4EB5-9DC9-479A12983A76}" srcOrd="1" destOrd="0" presId="urn:microsoft.com/office/officeart/2005/8/layout/bList2"/>
    <dgm:cxn modelId="{DADCEC5E-908B-477B-AA37-326718048F0B}" type="presParOf" srcId="{A79BAD40-822A-4157-9488-874B573A038D}" destId="{2B867782-6D27-4D90-832F-E8F345F71868}" srcOrd="2" destOrd="0" presId="urn:microsoft.com/office/officeart/2005/8/layout/bList2"/>
    <dgm:cxn modelId="{5A60FAC9-B271-4341-8260-A5417515C4CC}" type="presParOf" srcId="{A79BAD40-822A-4157-9488-874B573A038D}" destId="{446DFD0D-024D-4334-A781-405AED64CEE5}" srcOrd="3" destOrd="0" presId="urn:microsoft.com/office/officeart/2005/8/layout/bList2"/>
    <dgm:cxn modelId="{7C7771F1-C556-4665-BA31-05838DC5A710}" type="presParOf" srcId="{CBD90D44-AA99-4B9F-9606-CD9363394890}" destId="{3A96CFA6-985E-444A-8620-FE4526EBA226}" srcOrd="1" destOrd="0" presId="urn:microsoft.com/office/officeart/2005/8/layout/bList2"/>
    <dgm:cxn modelId="{131580EE-294D-4B6C-9274-70DACD4CE959}" type="presParOf" srcId="{CBD90D44-AA99-4B9F-9606-CD9363394890}" destId="{F750CC52-2D25-4628-9F93-0AA2C7A45AE0}" srcOrd="2" destOrd="0" presId="urn:microsoft.com/office/officeart/2005/8/layout/bList2"/>
    <dgm:cxn modelId="{01E394C3-3945-44C4-95F5-84D8E5A69393}" type="presParOf" srcId="{F750CC52-2D25-4628-9F93-0AA2C7A45AE0}" destId="{B811744A-FAD7-42FA-A33F-CC7CB800F2EF}" srcOrd="0" destOrd="0" presId="urn:microsoft.com/office/officeart/2005/8/layout/bList2"/>
    <dgm:cxn modelId="{E050A96B-D720-47C6-B7D6-187DF02FF5FE}" type="presParOf" srcId="{F750CC52-2D25-4628-9F93-0AA2C7A45AE0}" destId="{C5C2C895-16E9-4354-AFE5-88259A37960E}" srcOrd="1" destOrd="0" presId="urn:microsoft.com/office/officeart/2005/8/layout/bList2"/>
    <dgm:cxn modelId="{0FF783A8-6C13-4A59-BEAB-3C8DD5784295}" type="presParOf" srcId="{F750CC52-2D25-4628-9F93-0AA2C7A45AE0}" destId="{3BDF3712-547B-4FB0-9C3F-687817DE64B4}" srcOrd="2" destOrd="0" presId="urn:microsoft.com/office/officeart/2005/8/layout/bList2"/>
    <dgm:cxn modelId="{CCB2407C-7E8D-4400-8787-27422BD3C1EC}" type="presParOf" srcId="{F750CC52-2D25-4628-9F93-0AA2C7A45AE0}" destId="{B6F04303-BBCF-418B-8F8C-E74D55067356}" srcOrd="3" destOrd="0" presId="urn:microsoft.com/office/officeart/2005/8/layout/bList2"/>
    <dgm:cxn modelId="{4268E26E-7774-4E33-9467-10A9D62E99F4}" type="presParOf" srcId="{CBD90D44-AA99-4B9F-9606-CD9363394890}" destId="{D1A6F760-376B-48AF-96B3-E5B6178AB7FC}" srcOrd="3" destOrd="0" presId="urn:microsoft.com/office/officeart/2005/8/layout/bList2"/>
    <dgm:cxn modelId="{A82EDE5F-C1DB-4672-9CA0-F5C3A9853459}" type="presParOf" srcId="{CBD90D44-AA99-4B9F-9606-CD9363394890}" destId="{9CB52431-7B18-47FC-83DB-F7FCAFD8D696}" srcOrd="4" destOrd="0" presId="urn:microsoft.com/office/officeart/2005/8/layout/bList2"/>
    <dgm:cxn modelId="{CA645935-4AC3-4C2B-8013-318CE1EA7757}" type="presParOf" srcId="{9CB52431-7B18-47FC-83DB-F7FCAFD8D696}" destId="{6D908306-EBA4-4BF2-9A69-32D7DDDDB82F}" srcOrd="0" destOrd="0" presId="urn:microsoft.com/office/officeart/2005/8/layout/bList2"/>
    <dgm:cxn modelId="{5AE8192F-AC2B-45C4-AAB6-FEEB74845295}" type="presParOf" srcId="{9CB52431-7B18-47FC-83DB-F7FCAFD8D696}" destId="{D69DAF52-C77A-4050-AEF9-AD41CBBDA295}" srcOrd="1" destOrd="0" presId="urn:microsoft.com/office/officeart/2005/8/layout/bList2"/>
    <dgm:cxn modelId="{14D6677A-29CA-4DBB-9BB8-DDD343F03F6C}" type="presParOf" srcId="{9CB52431-7B18-47FC-83DB-F7FCAFD8D696}" destId="{0E8264E5-8042-48A7-8240-91078C4253FB}" srcOrd="2" destOrd="0" presId="urn:microsoft.com/office/officeart/2005/8/layout/bList2"/>
    <dgm:cxn modelId="{855B5C6E-4D7E-457C-974B-89EB3DF9896D}" type="presParOf" srcId="{9CB52431-7B18-47FC-83DB-F7FCAFD8D696}" destId="{12E05B9D-F347-492B-BE90-6D9756DC7C89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6C96EAD-D3F4-401E-9F9F-A31DD5918F06}" type="datetimeFigureOut">
              <a:rPr lang="en-US"/>
              <a:pPr>
                <a:defRPr/>
              </a:pPr>
              <a:t>4/16/2018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76DE754E-C37C-466E-BF1F-31A987E328B0}" type="slidenum">
              <a:rPr lang="sr-Latn-RS" altLang="sr-Latn-RS"/>
              <a:pPr>
                <a:defRPr/>
              </a:pPr>
              <a:t>‹#›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2696331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5D8ACDF-CF54-4741-BAAB-DD2101A693CB}" type="datetimeFigureOut">
              <a:rPr lang="en-US"/>
              <a:pPr>
                <a:defRPr/>
              </a:pPr>
              <a:t>4/16/2018</a:t>
            </a:fld>
            <a:endParaRPr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noProof="0" dirty="0"/>
              <a:t>Click to edit Master text styles</a:t>
            </a:r>
          </a:p>
          <a:p>
            <a:pPr lvl="1"/>
            <a:r>
              <a:rPr noProof="0" dirty="0"/>
              <a:t>Second level</a:t>
            </a:r>
          </a:p>
          <a:p>
            <a:pPr lvl="2"/>
            <a:r>
              <a:rPr noProof="0" dirty="0"/>
              <a:t>Third level</a:t>
            </a:r>
          </a:p>
          <a:p>
            <a:pPr lvl="3"/>
            <a:r>
              <a:rPr noProof="0" dirty="0"/>
              <a:t>Fourth level</a:t>
            </a:r>
          </a:p>
          <a:p>
            <a:pPr lvl="4"/>
            <a:r>
              <a:rPr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F97A7519-1955-4DA3-95F7-89E45F76135A}" type="slidenum">
              <a:rPr lang="sr-Latn-RS" altLang="sr-Latn-RS"/>
              <a:pPr>
                <a:defRPr/>
              </a:pPr>
              <a:t>‹#›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7542570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2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17842373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3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10768536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5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3767551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6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32638109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7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1048481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16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17069551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17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13729407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r-Cyrl-R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18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16352376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7519-1955-4DA3-95F7-89E45F76135A}" type="slidenum">
              <a:rPr lang="sr-Latn-RS" altLang="sr-Latn-RS" smtClean="0"/>
              <a:pPr>
                <a:defRPr/>
              </a:pPr>
              <a:t>20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814064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cetn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0" y="4754563"/>
            <a:ext cx="12192000" cy="2103437"/>
          </a:xfrm>
          <a:prstGeom prst="rect">
            <a:avLst/>
          </a:prstGeom>
          <a:solidFill>
            <a:srgbClr val="0053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sp>
        <p:nvSpPr>
          <p:cNvPr id="6" name="Rectangle 5"/>
          <p:cNvSpPr/>
          <p:nvPr/>
        </p:nvSpPr>
        <p:spPr bwMode="white">
          <a:xfrm>
            <a:off x="0" y="4724400"/>
            <a:ext cx="12188825" cy="76200"/>
          </a:xfrm>
          <a:prstGeom prst="rect">
            <a:avLst/>
          </a:prstGeom>
          <a:solidFill>
            <a:srgbClr val="D0D9D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/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4954588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999" y="4800600"/>
            <a:ext cx="9144002" cy="1143000"/>
          </a:xfrm>
        </p:spPr>
        <p:txBody>
          <a:bodyPr>
            <a:norm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2413" y="5943600"/>
            <a:ext cx="9144002" cy="762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00600"/>
          </a:xfrm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0738565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slovni slajd crve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ltGray">
          <a:xfrm>
            <a:off x="0" y="0"/>
            <a:ext cx="12188825" cy="457200"/>
          </a:xfrm>
          <a:prstGeom prst="rect">
            <a:avLst/>
          </a:prstGeom>
          <a:solidFill>
            <a:srgbClr val="C412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sp>
        <p:nvSpPr>
          <p:cNvPr id="5" name="Rectangle 4"/>
          <p:cNvSpPr/>
          <p:nvPr/>
        </p:nvSpPr>
        <p:spPr bwMode="white">
          <a:xfrm>
            <a:off x="0" y="411163"/>
            <a:ext cx="12188825" cy="46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1143000"/>
            <a:ext cx="9144000" cy="2667000"/>
          </a:xfrm>
        </p:spPr>
        <p:txBody>
          <a:bodyPr>
            <a:normAutofit/>
          </a:bodyPr>
          <a:lstStyle>
            <a:lvl1pPr algn="ctr">
              <a:defRPr sz="5200" b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4000" y="3810000"/>
            <a:ext cx="9144000" cy="1143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0" y="6602413"/>
            <a:ext cx="12188825" cy="255587"/>
          </a:xfrm>
          <a:solidFill>
            <a:srgbClr val="C4122F"/>
          </a:solidFill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99539682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Ispis pla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6477000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1143000"/>
            <a:ext cx="9144000" cy="2667000"/>
          </a:xfrm>
        </p:spPr>
        <p:txBody>
          <a:bodyPr>
            <a:normAutofit/>
          </a:bodyPr>
          <a:lstStyle>
            <a:lvl1pPr algn="ctr">
              <a:defRPr sz="52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413" y="3810000"/>
            <a:ext cx="9144000" cy="1143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325312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Ispis crve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6477000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1143000"/>
            <a:ext cx="9144000" cy="2667000"/>
          </a:xfrm>
        </p:spPr>
        <p:txBody>
          <a:bodyPr>
            <a:normAutofit/>
          </a:bodyPr>
          <a:lstStyle>
            <a:lvl1pPr algn="ctr">
              <a:defRPr sz="5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413" y="3810000"/>
            <a:ext cx="9144000" cy="1143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4457134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adrzaj dve stra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41120" y="1901952"/>
            <a:ext cx="4572000" cy="412394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880" y="1901952"/>
            <a:ext cx="4572000" cy="412394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33649991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drzaj dve strane crve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120" y="466344"/>
            <a:ext cx="9509760" cy="123444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41120" y="1837464"/>
            <a:ext cx="4572000" cy="766588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2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41120" y="2740732"/>
            <a:ext cx="4572000" cy="328884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8880" y="1837464"/>
            <a:ext cx="4572000" cy="766588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2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8880" y="2740732"/>
            <a:ext cx="4572000" cy="328884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>
          <a:xfrm>
            <a:off x="0" y="6602413"/>
            <a:ext cx="12192000" cy="255587"/>
          </a:xfrm>
          <a:solidFill>
            <a:srgbClr val="C4122F"/>
          </a:solidFill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42544200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az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6477000"/>
            <a:ext cx="16764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6556848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slovna i sadrz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412" y="2362200"/>
            <a:ext cx="3200400" cy="1990725"/>
          </a:xfrm>
        </p:spPr>
        <p:txBody>
          <a:bodyPr>
            <a:normAutofit/>
          </a:bodyPr>
          <a:lstStyle>
            <a:lvl1pPr>
              <a:defRPr sz="3400" b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4212" y="685800"/>
            <a:ext cx="7239001" cy="5486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0412" y="4367308"/>
            <a:ext cx="3200400" cy="1622012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6112826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slovna i sadrzaj crve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412" y="2362200"/>
            <a:ext cx="3200400" cy="1990725"/>
          </a:xfrm>
        </p:spPr>
        <p:txBody>
          <a:bodyPr>
            <a:normAutofit/>
          </a:bodyPr>
          <a:lstStyle>
            <a:lvl1pPr>
              <a:defRPr sz="3400" b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4212" y="685800"/>
            <a:ext cx="7239001" cy="5486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0412" y="4367308"/>
            <a:ext cx="3200400" cy="1622012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>
          <a:xfrm>
            <a:off x="0" y="6602413"/>
            <a:ext cx="12192000" cy="255587"/>
          </a:xfrm>
          <a:solidFill>
            <a:srgbClr val="C4122F"/>
          </a:solidFill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3811887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 i fotografija pla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0" y="0"/>
            <a:ext cx="4873625" cy="6858000"/>
          </a:xfrm>
          <a:prstGeom prst="rect">
            <a:avLst/>
          </a:prstGeom>
          <a:solidFill>
            <a:srgbClr val="0053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6477000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412" y="2362200"/>
            <a:ext cx="3200400" cy="1990725"/>
          </a:xfrm>
        </p:spPr>
        <p:txBody>
          <a:bodyPr>
            <a:normAutofit/>
          </a:bodyPr>
          <a:lstStyle>
            <a:lvl1pPr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0412" y="4367308"/>
            <a:ext cx="3200400" cy="1622012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4873625" y="0"/>
            <a:ext cx="7318375" cy="6858000"/>
          </a:xfrm>
        </p:spPr>
        <p:txBody>
          <a:bodyPr rtlCol="0">
            <a:normAutofit/>
          </a:bodyPr>
          <a:lstStyle>
            <a:lvl1pPr marL="4572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159195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 i fotografija crve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0" y="0"/>
            <a:ext cx="4873625" cy="6858000"/>
          </a:xfrm>
          <a:prstGeom prst="rect">
            <a:avLst/>
          </a:prstGeom>
          <a:solidFill>
            <a:srgbClr val="C412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6477000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412" y="2362200"/>
            <a:ext cx="3200400" cy="1990725"/>
          </a:xfrm>
        </p:spPr>
        <p:txBody>
          <a:bodyPr>
            <a:normAutofit/>
          </a:bodyPr>
          <a:lstStyle>
            <a:lvl1pPr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0412" y="4367308"/>
            <a:ext cx="3200400" cy="1622012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4873625" y="0"/>
            <a:ext cx="7318375" cy="6858000"/>
          </a:xfrm>
        </p:spPr>
        <p:txBody>
          <a:bodyPr rtlCol="0">
            <a:normAutofit/>
          </a:bodyPr>
          <a:lstStyle>
            <a:lvl1pPr marL="4572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834063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cetn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 userDrawn="1"/>
        </p:nvSpPr>
        <p:spPr>
          <a:xfrm>
            <a:off x="6096000" y="3886200"/>
            <a:ext cx="6019800" cy="28194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2588" y="6475413"/>
            <a:ext cx="20161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7000" y="4267200"/>
            <a:ext cx="5029200" cy="850900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34200" y="5508625"/>
            <a:ext cx="4152900" cy="762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0792359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Naslov i fotografija plavo des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7315200" y="0"/>
            <a:ext cx="4873625" cy="6858000"/>
          </a:xfrm>
          <a:prstGeom prst="rect">
            <a:avLst/>
          </a:prstGeom>
          <a:solidFill>
            <a:srgbClr val="0053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400" y="6477000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3214" y="2362200"/>
            <a:ext cx="3200400" cy="1993392"/>
          </a:xfrm>
        </p:spPr>
        <p:txBody>
          <a:bodyPr>
            <a:normAutofit/>
          </a:bodyPr>
          <a:lstStyle>
            <a:lvl1pPr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7315200" cy="6858000"/>
          </a:xfrm>
          <a:solidFill>
            <a:schemeClr val="bg2">
              <a:lumMod val="90000"/>
            </a:schemeClr>
          </a:solidFill>
        </p:spPr>
        <p:txBody>
          <a:bodyPr rtlCol="0">
            <a:normAutofit/>
          </a:bodyPr>
          <a:lstStyle>
            <a:lvl1pPr marL="0" indent="0" algn="ctr">
              <a:buNone/>
              <a:defRPr sz="32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ru-RU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23214" y="4355592"/>
            <a:ext cx="3200400" cy="16446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520494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Naslov i fotografija crveno des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7315200" y="0"/>
            <a:ext cx="4873625" cy="6858000"/>
          </a:xfrm>
          <a:prstGeom prst="rect">
            <a:avLst/>
          </a:prstGeom>
          <a:solidFill>
            <a:srgbClr val="C412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7400" y="6477000"/>
            <a:ext cx="2133600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3214" y="2362200"/>
            <a:ext cx="3200400" cy="1993392"/>
          </a:xfrm>
        </p:spPr>
        <p:txBody>
          <a:bodyPr>
            <a:normAutofit/>
          </a:bodyPr>
          <a:lstStyle>
            <a:lvl1pPr>
              <a:defRPr sz="34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7315200" cy="6858000"/>
          </a:xfrm>
          <a:solidFill>
            <a:schemeClr val="bg2">
              <a:lumMod val="90000"/>
            </a:schemeClr>
          </a:solidFill>
        </p:spPr>
        <p:txBody>
          <a:bodyPr rtlCol="0">
            <a:normAutofit/>
          </a:bodyPr>
          <a:lstStyle>
            <a:lvl1pPr marL="0" indent="0" algn="ctr">
              <a:buNone/>
              <a:defRPr sz="3200">
                <a:solidFill>
                  <a:schemeClr val="tx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923214" y="4355592"/>
            <a:ext cx="3200400" cy="16446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5531476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drzaj praz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182749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drzaj prazan crve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0" y="6602413"/>
            <a:ext cx="12192000" cy="255587"/>
          </a:xfrm>
          <a:solidFill>
            <a:srgbClr val="C4122F"/>
          </a:solidFill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868808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braj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32"/>
          <p:cNvSpPr>
            <a:spLocks noGrp="1"/>
          </p:cNvSpPr>
          <p:nvPr>
            <p:ph type="pic" sz="quarter" idx="29"/>
          </p:nvPr>
        </p:nvSpPr>
        <p:spPr>
          <a:xfrm>
            <a:off x="9144000" y="2217738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37"/>
          </p:nvPr>
        </p:nvSpPr>
        <p:spPr>
          <a:xfrm>
            <a:off x="9569825" y="4043806"/>
            <a:ext cx="2196346" cy="1976015"/>
          </a:xfrm>
          <a:custGeom>
            <a:avLst/>
            <a:gdLst>
              <a:gd name="connsiteX0" fmla="*/ 329342 w 2196346"/>
              <a:gd name="connsiteY0" fmla="*/ 0 h 1976015"/>
              <a:gd name="connsiteX1" fmla="*/ 1867004 w 2196346"/>
              <a:gd name="connsiteY1" fmla="*/ 0 h 1976015"/>
              <a:gd name="connsiteX2" fmla="*/ 2196346 w 2196346"/>
              <a:gd name="connsiteY2" fmla="*/ 329342 h 1976015"/>
              <a:gd name="connsiteX3" fmla="*/ 2196346 w 2196346"/>
              <a:gd name="connsiteY3" fmla="*/ 1646673 h 1976015"/>
              <a:gd name="connsiteX4" fmla="*/ 1867004 w 2196346"/>
              <a:gd name="connsiteY4" fmla="*/ 1976015 h 1976015"/>
              <a:gd name="connsiteX5" fmla="*/ 329342 w 2196346"/>
              <a:gd name="connsiteY5" fmla="*/ 1976015 h 1976015"/>
              <a:gd name="connsiteX6" fmla="*/ 0 w 2196346"/>
              <a:gd name="connsiteY6" fmla="*/ 1646673 h 1976015"/>
              <a:gd name="connsiteX7" fmla="*/ 0 w 2196346"/>
              <a:gd name="connsiteY7" fmla="*/ 329342 h 1976015"/>
              <a:gd name="connsiteX8" fmla="*/ 329342 w 2196346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6" h="1976015">
                <a:moveTo>
                  <a:pt x="329342" y="0"/>
                </a:moveTo>
                <a:lnTo>
                  <a:pt x="1867004" y="0"/>
                </a:lnTo>
                <a:cubicBezTo>
                  <a:pt x="2048895" y="0"/>
                  <a:pt x="2196346" y="147451"/>
                  <a:pt x="2196346" y="329342"/>
                </a:cubicBezTo>
                <a:lnTo>
                  <a:pt x="2196346" y="1646673"/>
                </a:lnTo>
                <a:cubicBezTo>
                  <a:pt x="2196346" y="1828564"/>
                  <a:pt x="2048895" y="1976015"/>
                  <a:pt x="1867004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56" name="Picture Placeholder 32"/>
          <p:cNvSpPr>
            <a:spLocks noGrp="1"/>
          </p:cNvSpPr>
          <p:nvPr>
            <p:ph type="pic" sz="quarter" idx="28"/>
          </p:nvPr>
        </p:nvSpPr>
        <p:spPr>
          <a:xfrm>
            <a:off x="6096000" y="2217738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36"/>
          </p:nvPr>
        </p:nvSpPr>
        <p:spPr>
          <a:xfrm>
            <a:off x="6521825" y="4043807"/>
            <a:ext cx="2196346" cy="1976015"/>
          </a:xfrm>
          <a:custGeom>
            <a:avLst/>
            <a:gdLst>
              <a:gd name="connsiteX0" fmla="*/ 329342 w 2196346"/>
              <a:gd name="connsiteY0" fmla="*/ 0 h 1976015"/>
              <a:gd name="connsiteX1" fmla="*/ 1867004 w 2196346"/>
              <a:gd name="connsiteY1" fmla="*/ 0 h 1976015"/>
              <a:gd name="connsiteX2" fmla="*/ 2196346 w 2196346"/>
              <a:gd name="connsiteY2" fmla="*/ 329342 h 1976015"/>
              <a:gd name="connsiteX3" fmla="*/ 2196346 w 2196346"/>
              <a:gd name="connsiteY3" fmla="*/ 1646673 h 1976015"/>
              <a:gd name="connsiteX4" fmla="*/ 1867004 w 2196346"/>
              <a:gd name="connsiteY4" fmla="*/ 1976015 h 1976015"/>
              <a:gd name="connsiteX5" fmla="*/ 329342 w 2196346"/>
              <a:gd name="connsiteY5" fmla="*/ 1976015 h 1976015"/>
              <a:gd name="connsiteX6" fmla="*/ 0 w 2196346"/>
              <a:gd name="connsiteY6" fmla="*/ 1646673 h 1976015"/>
              <a:gd name="connsiteX7" fmla="*/ 0 w 2196346"/>
              <a:gd name="connsiteY7" fmla="*/ 329342 h 1976015"/>
              <a:gd name="connsiteX8" fmla="*/ 329342 w 2196346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6" h="1976015">
                <a:moveTo>
                  <a:pt x="329342" y="0"/>
                </a:moveTo>
                <a:lnTo>
                  <a:pt x="1867004" y="0"/>
                </a:lnTo>
                <a:cubicBezTo>
                  <a:pt x="2048895" y="0"/>
                  <a:pt x="2196346" y="147451"/>
                  <a:pt x="2196346" y="329342"/>
                </a:cubicBezTo>
                <a:lnTo>
                  <a:pt x="2196346" y="1646673"/>
                </a:lnTo>
                <a:cubicBezTo>
                  <a:pt x="2196346" y="1828564"/>
                  <a:pt x="2048895" y="1976015"/>
                  <a:pt x="1867004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55" name="Picture Placeholder 32"/>
          <p:cNvSpPr>
            <a:spLocks noGrp="1"/>
          </p:cNvSpPr>
          <p:nvPr>
            <p:ph type="pic" sz="quarter" idx="27"/>
          </p:nvPr>
        </p:nvSpPr>
        <p:spPr>
          <a:xfrm>
            <a:off x="3048000" y="2217738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35"/>
          </p:nvPr>
        </p:nvSpPr>
        <p:spPr>
          <a:xfrm>
            <a:off x="3473825" y="4045373"/>
            <a:ext cx="2196346" cy="1976015"/>
          </a:xfrm>
          <a:custGeom>
            <a:avLst/>
            <a:gdLst>
              <a:gd name="connsiteX0" fmla="*/ 329342 w 2196346"/>
              <a:gd name="connsiteY0" fmla="*/ 0 h 1976015"/>
              <a:gd name="connsiteX1" fmla="*/ 1867004 w 2196346"/>
              <a:gd name="connsiteY1" fmla="*/ 0 h 1976015"/>
              <a:gd name="connsiteX2" fmla="*/ 2196346 w 2196346"/>
              <a:gd name="connsiteY2" fmla="*/ 329342 h 1976015"/>
              <a:gd name="connsiteX3" fmla="*/ 2196346 w 2196346"/>
              <a:gd name="connsiteY3" fmla="*/ 1646673 h 1976015"/>
              <a:gd name="connsiteX4" fmla="*/ 1867004 w 2196346"/>
              <a:gd name="connsiteY4" fmla="*/ 1976015 h 1976015"/>
              <a:gd name="connsiteX5" fmla="*/ 329342 w 2196346"/>
              <a:gd name="connsiteY5" fmla="*/ 1976015 h 1976015"/>
              <a:gd name="connsiteX6" fmla="*/ 0 w 2196346"/>
              <a:gd name="connsiteY6" fmla="*/ 1646673 h 1976015"/>
              <a:gd name="connsiteX7" fmla="*/ 0 w 2196346"/>
              <a:gd name="connsiteY7" fmla="*/ 329342 h 1976015"/>
              <a:gd name="connsiteX8" fmla="*/ 329342 w 2196346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6" h="1976015">
                <a:moveTo>
                  <a:pt x="329342" y="0"/>
                </a:moveTo>
                <a:lnTo>
                  <a:pt x="1867004" y="0"/>
                </a:lnTo>
                <a:cubicBezTo>
                  <a:pt x="2048895" y="0"/>
                  <a:pt x="2196346" y="147451"/>
                  <a:pt x="2196346" y="329342"/>
                </a:cubicBezTo>
                <a:lnTo>
                  <a:pt x="2196346" y="1646673"/>
                </a:lnTo>
                <a:cubicBezTo>
                  <a:pt x="2196346" y="1828564"/>
                  <a:pt x="2048895" y="1976015"/>
                  <a:pt x="1867004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26"/>
          </p:nvPr>
        </p:nvSpPr>
        <p:spPr>
          <a:xfrm>
            <a:off x="0" y="2223197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34"/>
          </p:nvPr>
        </p:nvSpPr>
        <p:spPr>
          <a:xfrm>
            <a:off x="425826" y="4043806"/>
            <a:ext cx="2196348" cy="1976015"/>
          </a:xfrm>
          <a:custGeom>
            <a:avLst/>
            <a:gdLst>
              <a:gd name="connsiteX0" fmla="*/ 329342 w 2196348"/>
              <a:gd name="connsiteY0" fmla="*/ 0 h 1976015"/>
              <a:gd name="connsiteX1" fmla="*/ 1867006 w 2196348"/>
              <a:gd name="connsiteY1" fmla="*/ 0 h 1976015"/>
              <a:gd name="connsiteX2" fmla="*/ 2196348 w 2196348"/>
              <a:gd name="connsiteY2" fmla="*/ 329342 h 1976015"/>
              <a:gd name="connsiteX3" fmla="*/ 2196348 w 2196348"/>
              <a:gd name="connsiteY3" fmla="*/ 1646673 h 1976015"/>
              <a:gd name="connsiteX4" fmla="*/ 1867006 w 2196348"/>
              <a:gd name="connsiteY4" fmla="*/ 1976015 h 1976015"/>
              <a:gd name="connsiteX5" fmla="*/ 329342 w 2196348"/>
              <a:gd name="connsiteY5" fmla="*/ 1976015 h 1976015"/>
              <a:gd name="connsiteX6" fmla="*/ 0 w 2196348"/>
              <a:gd name="connsiteY6" fmla="*/ 1646673 h 1976015"/>
              <a:gd name="connsiteX7" fmla="*/ 0 w 2196348"/>
              <a:gd name="connsiteY7" fmla="*/ 329342 h 1976015"/>
              <a:gd name="connsiteX8" fmla="*/ 329342 w 2196348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8" h="1976015">
                <a:moveTo>
                  <a:pt x="329342" y="0"/>
                </a:moveTo>
                <a:lnTo>
                  <a:pt x="1867006" y="0"/>
                </a:lnTo>
                <a:cubicBezTo>
                  <a:pt x="2048897" y="0"/>
                  <a:pt x="2196348" y="147451"/>
                  <a:pt x="2196348" y="329342"/>
                </a:cubicBezTo>
                <a:lnTo>
                  <a:pt x="2196348" y="1646673"/>
                </a:lnTo>
                <a:cubicBezTo>
                  <a:pt x="2196348" y="1828564"/>
                  <a:pt x="2048897" y="1976015"/>
                  <a:pt x="1867006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524000" y="498764"/>
            <a:ext cx="9144000" cy="697490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524000" y="1223964"/>
            <a:ext cx="9144000" cy="374217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495828" y="4240364"/>
            <a:ext cx="2053384" cy="47148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495828" y="4712724"/>
            <a:ext cx="2053384" cy="93821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3563937" y="4241237"/>
            <a:ext cx="2016125" cy="47148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1"/>
          </p:nvPr>
        </p:nvSpPr>
        <p:spPr>
          <a:xfrm>
            <a:off x="3563936" y="4711851"/>
            <a:ext cx="2016125" cy="93821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8" name="Text Placeholder 18"/>
          <p:cNvSpPr>
            <a:spLocks noGrp="1"/>
          </p:cNvSpPr>
          <p:nvPr>
            <p:ph type="body" sz="quarter" idx="30"/>
          </p:nvPr>
        </p:nvSpPr>
        <p:spPr>
          <a:xfrm>
            <a:off x="6611937" y="4241237"/>
            <a:ext cx="2016125" cy="47148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9" name="Text Placeholder 20"/>
          <p:cNvSpPr>
            <a:spLocks noGrp="1"/>
          </p:cNvSpPr>
          <p:nvPr>
            <p:ph type="body" sz="quarter" idx="31"/>
          </p:nvPr>
        </p:nvSpPr>
        <p:spPr>
          <a:xfrm>
            <a:off x="6611936" y="4711851"/>
            <a:ext cx="2016125" cy="93821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0" name="Text Placeholder 18"/>
          <p:cNvSpPr>
            <a:spLocks noGrp="1"/>
          </p:cNvSpPr>
          <p:nvPr>
            <p:ph type="body" sz="quarter" idx="32"/>
          </p:nvPr>
        </p:nvSpPr>
        <p:spPr>
          <a:xfrm>
            <a:off x="9659938" y="4241237"/>
            <a:ext cx="2016125" cy="47148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1" name="Text Placeholder 20"/>
          <p:cNvSpPr>
            <a:spLocks noGrp="1"/>
          </p:cNvSpPr>
          <p:nvPr>
            <p:ph type="body" sz="quarter" idx="33"/>
          </p:nvPr>
        </p:nvSpPr>
        <p:spPr>
          <a:xfrm>
            <a:off x="9659937" y="4711851"/>
            <a:ext cx="2016125" cy="93821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0" name="Footer Placeholder 3"/>
          <p:cNvSpPr>
            <a:spLocks noGrp="1"/>
          </p:cNvSpPr>
          <p:nvPr>
            <p:ph type="ftr" sz="quarter" idx="3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5924369"/>
      </p:ext>
    </p:extLst>
  </p:cSld>
  <p:clrMapOvr>
    <a:masterClrMapping/>
  </p:clrMapOvr>
  <p:transition spd="slow" advTm="0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brajanje crve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32"/>
          <p:cNvSpPr>
            <a:spLocks noGrp="1"/>
          </p:cNvSpPr>
          <p:nvPr>
            <p:ph type="pic" sz="quarter" idx="29"/>
          </p:nvPr>
        </p:nvSpPr>
        <p:spPr>
          <a:xfrm>
            <a:off x="9144000" y="2217738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37"/>
          </p:nvPr>
        </p:nvSpPr>
        <p:spPr>
          <a:xfrm>
            <a:off x="9569825" y="4043806"/>
            <a:ext cx="2196346" cy="1976015"/>
          </a:xfrm>
          <a:custGeom>
            <a:avLst/>
            <a:gdLst>
              <a:gd name="connsiteX0" fmla="*/ 329342 w 2196346"/>
              <a:gd name="connsiteY0" fmla="*/ 0 h 1976015"/>
              <a:gd name="connsiteX1" fmla="*/ 1867004 w 2196346"/>
              <a:gd name="connsiteY1" fmla="*/ 0 h 1976015"/>
              <a:gd name="connsiteX2" fmla="*/ 2196346 w 2196346"/>
              <a:gd name="connsiteY2" fmla="*/ 329342 h 1976015"/>
              <a:gd name="connsiteX3" fmla="*/ 2196346 w 2196346"/>
              <a:gd name="connsiteY3" fmla="*/ 1646673 h 1976015"/>
              <a:gd name="connsiteX4" fmla="*/ 1867004 w 2196346"/>
              <a:gd name="connsiteY4" fmla="*/ 1976015 h 1976015"/>
              <a:gd name="connsiteX5" fmla="*/ 329342 w 2196346"/>
              <a:gd name="connsiteY5" fmla="*/ 1976015 h 1976015"/>
              <a:gd name="connsiteX6" fmla="*/ 0 w 2196346"/>
              <a:gd name="connsiteY6" fmla="*/ 1646673 h 1976015"/>
              <a:gd name="connsiteX7" fmla="*/ 0 w 2196346"/>
              <a:gd name="connsiteY7" fmla="*/ 329342 h 1976015"/>
              <a:gd name="connsiteX8" fmla="*/ 329342 w 2196346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6" h="1976015">
                <a:moveTo>
                  <a:pt x="329342" y="0"/>
                </a:moveTo>
                <a:lnTo>
                  <a:pt x="1867004" y="0"/>
                </a:lnTo>
                <a:cubicBezTo>
                  <a:pt x="2048895" y="0"/>
                  <a:pt x="2196346" y="147451"/>
                  <a:pt x="2196346" y="329342"/>
                </a:cubicBezTo>
                <a:lnTo>
                  <a:pt x="2196346" y="1646673"/>
                </a:lnTo>
                <a:cubicBezTo>
                  <a:pt x="2196346" y="1828564"/>
                  <a:pt x="2048895" y="1976015"/>
                  <a:pt x="1867004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56" name="Picture Placeholder 32"/>
          <p:cNvSpPr>
            <a:spLocks noGrp="1"/>
          </p:cNvSpPr>
          <p:nvPr>
            <p:ph type="pic" sz="quarter" idx="28"/>
          </p:nvPr>
        </p:nvSpPr>
        <p:spPr>
          <a:xfrm>
            <a:off x="6096000" y="2217738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36"/>
          </p:nvPr>
        </p:nvSpPr>
        <p:spPr>
          <a:xfrm>
            <a:off x="6521825" y="4043807"/>
            <a:ext cx="2196346" cy="1976015"/>
          </a:xfrm>
          <a:custGeom>
            <a:avLst/>
            <a:gdLst>
              <a:gd name="connsiteX0" fmla="*/ 329342 w 2196346"/>
              <a:gd name="connsiteY0" fmla="*/ 0 h 1976015"/>
              <a:gd name="connsiteX1" fmla="*/ 1867004 w 2196346"/>
              <a:gd name="connsiteY1" fmla="*/ 0 h 1976015"/>
              <a:gd name="connsiteX2" fmla="*/ 2196346 w 2196346"/>
              <a:gd name="connsiteY2" fmla="*/ 329342 h 1976015"/>
              <a:gd name="connsiteX3" fmla="*/ 2196346 w 2196346"/>
              <a:gd name="connsiteY3" fmla="*/ 1646673 h 1976015"/>
              <a:gd name="connsiteX4" fmla="*/ 1867004 w 2196346"/>
              <a:gd name="connsiteY4" fmla="*/ 1976015 h 1976015"/>
              <a:gd name="connsiteX5" fmla="*/ 329342 w 2196346"/>
              <a:gd name="connsiteY5" fmla="*/ 1976015 h 1976015"/>
              <a:gd name="connsiteX6" fmla="*/ 0 w 2196346"/>
              <a:gd name="connsiteY6" fmla="*/ 1646673 h 1976015"/>
              <a:gd name="connsiteX7" fmla="*/ 0 w 2196346"/>
              <a:gd name="connsiteY7" fmla="*/ 329342 h 1976015"/>
              <a:gd name="connsiteX8" fmla="*/ 329342 w 2196346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6" h="1976015">
                <a:moveTo>
                  <a:pt x="329342" y="0"/>
                </a:moveTo>
                <a:lnTo>
                  <a:pt x="1867004" y="0"/>
                </a:lnTo>
                <a:cubicBezTo>
                  <a:pt x="2048895" y="0"/>
                  <a:pt x="2196346" y="147451"/>
                  <a:pt x="2196346" y="329342"/>
                </a:cubicBezTo>
                <a:lnTo>
                  <a:pt x="2196346" y="1646673"/>
                </a:lnTo>
                <a:cubicBezTo>
                  <a:pt x="2196346" y="1828564"/>
                  <a:pt x="2048895" y="1976015"/>
                  <a:pt x="1867004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55" name="Picture Placeholder 32"/>
          <p:cNvSpPr>
            <a:spLocks noGrp="1"/>
          </p:cNvSpPr>
          <p:nvPr>
            <p:ph type="pic" sz="quarter" idx="27"/>
          </p:nvPr>
        </p:nvSpPr>
        <p:spPr>
          <a:xfrm>
            <a:off x="3048000" y="2217738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35"/>
          </p:nvPr>
        </p:nvSpPr>
        <p:spPr>
          <a:xfrm>
            <a:off x="3473825" y="4045373"/>
            <a:ext cx="2196346" cy="1976015"/>
          </a:xfrm>
          <a:custGeom>
            <a:avLst/>
            <a:gdLst>
              <a:gd name="connsiteX0" fmla="*/ 329342 w 2196346"/>
              <a:gd name="connsiteY0" fmla="*/ 0 h 1976015"/>
              <a:gd name="connsiteX1" fmla="*/ 1867004 w 2196346"/>
              <a:gd name="connsiteY1" fmla="*/ 0 h 1976015"/>
              <a:gd name="connsiteX2" fmla="*/ 2196346 w 2196346"/>
              <a:gd name="connsiteY2" fmla="*/ 329342 h 1976015"/>
              <a:gd name="connsiteX3" fmla="*/ 2196346 w 2196346"/>
              <a:gd name="connsiteY3" fmla="*/ 1646673 h 1976015"/>
              <a:gd name="connsiteX4" fmla="*/ 1867004 w 2196346"/>
              <a:gd name="connsiteY4" fmla="*/ 1976015 h 1976015"/>
              <a:gd name="connsiteX5" fmla="*/ 329342 w 2196346"/>
              <a:gd name="connsiteY5" fmla="*/ 1976015 h 1976015"/>
              <a:gd name="connsiteX6" fmla="*/ 0 w 2196346"/>
              <a:gd name="connsiteY6" fmla="*/ 1646673 h 1976015"/>
              <a:gd name="connsiteX7" fmla="*/ 0 w 2196346"/>
              <a:gd name="connsiteY7" fmla="*/ 329342 h 1976015"/>
              <a:gd name="connsiteX8" fmla="*/ 329342 w 2196346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6" h="1976015">
                <a:moveTo>
                  <a:pt x="329342" y="0"/>
                </a:moveTo>
                <a:lnTo>
                  <a:pt x="1867004" y="0"/>
                </a:lnTo>
                <a:cubicBezTo>
                  <a:pt x="2048895" y="0"/>
                  <a:pt x="2196346" y="147451"/>
                  <a:pt x="2196346" y="329342"/>
                </a:cubicBezTo>
                <a:lnTo>
                  <a:pt x="2196346" y="1646673"/>
                </a:lnTo>
                <a:cubicBezTo>
                  <a:pt x="2196346" y="1828564"/>
                  <a:pt x="2048895" y="1976015"/>
                  <a:pt x="1867004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3" name="Picture Placeholder 32"/>
          <p:cNvSpPr>
            <a:spLocks noGrp="1"/>
          </p:cNvSpPr>
          <p:nvPr>
            <p:ph type="pic" sz="quarter" idx="26"/>
          </p:nvPr>
        </p:nvSpPr>
        <p:spPr>
          <a:xfrm>
            <a:off x="0" y="2223197"/>
            <a:ext cx="3048000" cy="2914650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34"/>
          </p:nvPr>
        </p:nvSpPr>
        <p:spPr>
          <a:xfrm>
            <a:off x="425826" y="4043806"/>
            <a:ext cx="2196348" cy="1976015"/>
          </a:xfrm>
          <a:custGeom>
            <a:avLst/>
            <a:gdLst>
              <a:gd name="connsiteX0" fmla="*/ 329342 w 2196348"/>
              <a:gd name="connsiteY0" fmla="*/ 0 h 1976015"/>
              <a:gd name="connsiteX1" fmla="*/ 1867006 w 2196348"/>
              <a:gd name="connsiteY1" fmla="*/ 0 h 1976015"/>
              <a:gd name="connsiteX2" fmla="*/ 2196348 w 2196348"/>
              <a:gd name="connsiteY2" fmla="*/ 329342 h 1976015"/>
              <a:gd name="connsiteX3" fmla="*/ 2196348 w 2196348"/>
              <a:gd name="connsiteY3" fmla="*/ 1646673 h 1976015"/>
              <a:gd name="connsiteX4" fmla="*/ 1867006 w 2196348"/>
              <a:gd name="connsiteY4" fmla="*/ 1976015 h 1976015"/>
              <a:gd name="connsiteX5" fmla="*/ 329342 w 2196348"/>
              <a:gd name="connsiteY5" fmla="*/ 1976015 h 1976015"/>
              <a:gd name="connsiteX6" fmla="*/ 0 w 2196348"/>
              <a:gd name="connsiteY6" fmla="*/ 1646673 h 1976015"/>
              <a:gd name="connsiteX7" fmla="*/ 0 w 2196348"/>
              <a:gd name="connsiteY7" fmla="*/ 329342 h 1976015"/>
              <a:gd name="connsiteX8" fmla="*/ 329342 w 2196348"/>
              <a:gd name="connsiteY8" fmla="*/ 0 h 1976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96348" h="1976015">
                <a:moveTo>
                  <a:pt x="329342" y="0"/>
                </a:moveTo>
                <a:lnTo>
                  <a:pt x="1867006" y="0"/>
                </a:lnTo>
                <a:cubicBezTo>
                  <a:pt x="2048897" y="0"/>
                  <a:pt x="2196348" y="147451"/>
                  <a:pt x="2196348" y="329342"/>
                </a:cubicBezTo>
                <a:lnTo>
                  <a:pt x="2196348" y="1646673"/>
                </a:lnTo>
                <a:cubicBezTo>
                  <a:pt x="2196348" y="1828564"/>
                  <a:pt x="2048897" y="1976015"/>
                  <a:pt x="1867006" y="1976015"/>
                </a:cubicBezTo>
                <a:lnTo>
                  <a:pt x="329342" y="1976015"/>
                </a:lnTo>
                <a:cubicBezTo>
                  <a:pt x="147451" y="1976015"/>
                  <a:pt x="0" y="1828564"/>
                  <a:pt x="0" y="1646673"/>
                </a:cubicBezTo>
                <a:lnTo>
                  <a:pt x="0" y="329342"/>
                </a:lnTo>
                <a:cubicBezTo>
                  <a:pt x="0" y="147451"/>
                  <a:pt x="147451" y="0"/>
                  <a:pt x="329342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rtlCol="0">
            <a:no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524000" y="498764"/>
            <a:ext cx="9144000" cy="697490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524000" y="1223964"/>
            <a:ext cx="9144000" cy="374217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495828" y="4240364"/>
            <a:ext cx="2053384" cy="47148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495828" y="4712724"/>
            <a:ext cx="2053384" cy="938212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3563937" y="4241237"/>
            <a:ext cx="2016125" cy="47148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1"/>
          </p:nvPr>
        </p:nvSpPr>
        <p:spPr>
          <a:xfrm>
            <a:off x="3563936" y="4711851"/>
            <a:ext cx="2016125" cy="938212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8" name="Text Placeholder 18"/>
          <p:cNvSpPr>
            <a:spLocks noGrp="1"/>
          </p:cNvSpPr>
          <p:nvPr>
            <p:ph type="body" sz="quarter" idx="30"/>
          </p:nvPr>
        </p:nvSpPr>
        <p:spPr>
          <a:xfrm>
            <a:off x="6611937" y="4241237"/>
            <a:ext cx="2016125" cy="47148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9" name="Text Placeholder 20"/>
          <p:cNvSpPr>
            <a:spLocks noGrp="1"/>
          </p:cNvSpPr>
          <p:nvPr>
            <p:ph type="body" sz="quarter" idx="31"/>
          </p:nvPr>
        </p:nvSpPr>
        <p:spPr>
          <a:xfrm>
            <a:off x="6611936" y="4711851"/>
            <a:ext cx="2016125" cy="93821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0" name="Text Placeholder 18"/>
          <p:cNvSpPr>
            <a:spLocks noGrp="1"/>
          </p:cNvSpPr>
          <p:nvPr>
            <p:ph type="body" sz="quarter" idx="32"/>
          </p:nvPr>
        </p:nvSpPr>
        <p:spPr>
          <a:xfrm>
            <a:off x="9659938" y="4241237"/>
            <a:ext cx="2016125" cy="471487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1" name="Text Placeholder 20"/>
          <p:cNvSpPr>
            <a:spLocks noGrp="1"/>
          </p:cNvSpPr>
          <p:nvPr>
            <p:ph type="body" sz="quarter" idx="33"/>
          </p:nvPr>
        </p:nvSpPr>
        <p:spPr>
          <a:xfrm>
            <a:off x="9659937" y="4711851"/>
            <a:ext cx="2016125" cy="93821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itchFamily="2" charset="2"/>
              <a:buNone/>
              <a:tabLst/>
              <a:defRPr sz="1200">
                <a:solidFill>
                  <a:schemeClr val="bg1">
                    <a:lumMod val="50000"/>
                  </a:schemeClr>
                </a:solidFill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0" name="Footer Placeholder 3"/>
          <p:cNvSpPr>
            <a:spLocks noGrp="1"/>
          </p:cNvSpPr>
          <p:nvPr>
            <p:ph type="ftr" sz="quarter" idx="38"/>
          </p:nvPr>
        </p:nvSpPr>
        <p:spPr>
          <a:xfrm>
            <a:off x="0" y="6602413"/>
            <a:ext cx="12192000" cy="255587"/>
          </a:xfrm>
          <a:solidFill>
            <a:srgbClr val="C4122F"/>
          </a:solidFill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50230734"/>
      </p:ext>
    </p:extLst>
  </p:cSld>
  <p:clrMapOvr>
    <a:masterClrMapping/>
  </p:clrMapOvr>
  <p:transition spd="slow" advTm="0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61701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drzaj fotografij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8840860" y="1726784"/>
            <a:ext cx="2492303" cy="4521616"/>
          </a:xfrm>
          <a:custGeom>
            <a:avLst/>
            <a:gdLst>
              <a:gd name="connsiteX0" fmla="*/ 1246152 w 2492303"/>
              <a:gd name="connsiteY0" fmla="*/ 0 h 4521616"/>
              <a:gd name="connsiteX1" fmla="*/ 2436216 w 2492303"/>
              <a:gd name="connsiteY1" fmla="*/ 138439 h 4521616"/>
              <a:gd name="connsiteX2" fmla="*/ 2492302 w 2492303"/>
              <a:gd name="connsiteY2" fmla="*/ 161047 h 4521616"/>
              <a:gd name="connsiteX3" fmla="*/ 2492302 w 2492303"/>
              <a:gd name="connsiteY3" fmla="*/ 178503 h 4521616"/>
              <a:gd name="connsiteX4" fmla="*/ 2492302 w 2492303"/>
              <a:gd name="connsiteY4" fmla="*/ 466951 h 4521616"/>
              <a:gd name="connsiteX5" fmla="*/ 2492302 w 2492303"/>
              <a:gd name="connsiteY5" fmla="*/ 4054665 h 4521616"/>
              <a:gd name="connsiteX6" fmla="*/ 2492303 w 2492303"/>
              <a:gd name="connsiteY6" fmla="*/ 4054665 h 4521616"/>
              <a:gd name="connsiteX7" fmla="*/ 2492303 w 2492303"/>
              <a:gd name="connsiteY7" fmla="*/ 4360569 h 4521616"/>
              <a:gd name="connsiteX8" fmla="*/ 2436217 w 2492303"/>
              <a:gd name="connsiteY8" fmla="*/ 4383177 h 4521616"/>
              <a:gd name="connsiteX9" fmla="*/ 1246153 w 2492303"/>
              <a:gd name="connsiteY9" fmla="*/ 4521616 h 4521616"/>
              <a:gd name="connsiteX10" fmla="*/ 56089 w 2492303"/>
              <a:gd name="connsiteY10" fmla="*/ 4383177 h 4521616"/>
              <a:gd name="connsiteX11" fmla="*/ 1 w 2492303"/>
              <a:gd name="connsiteY11" fmla="*/ 4360569 h 4521616"/>
              <a:gd name="connsiteX12" fmla="*/ 1 w 2492303"/>
              <a:gd name="connsiteY12" fmla="*/ 4054665 h 4521616"/>
              <a:gd name="connsiteX13" fmla="*/ 683 w 2492303"/>
              <a:gd name="connsiteY13" fmla="*/ 4054390 h 4521616"/>
              <a:gd name="connsiteX14" fmla="*/ 683 w 2492303"/>
              <a:gd name="connsiteY14" fmla="*/ 467227 h 4521616"/>
              <a:gd name="connsiteX15" fmla="*/ 0 w 2492303"/>
              <a:gd name="connsiteY15" fmla="*/ 466951 h 4521616"/>
              <a:gd name="connsiteX16" fmla="*/ 0 w 2492303"/>
              <a:gd name="connsiteY16" fmla="*/ 161047 h 4521616"/>
              <a:gd name="connsiteX17" fmla="*/ 56088 w 2492303"/>
              <a:gd name="connsiteY17" fmla="*/ 138439 h 4521616"/>
              <a:gd name="connsiteX18" fmla="*/ 1246152 w 2492303"/>
              <a:gd name="connsiteY18" fmla="*/ 0 h 4521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2303" h="4521616">
                <a:moveTo>
                  <a:pt x="1246152" y="0"/>
                </a:moveTo>
                <a:cubicBezTo>
                  <a:pt x="1741540" y="0"/>
                  <a:pt x="2178306" y="54915"/>
                  <a:pt x="2436216" y="138439"/>
                </a:cubicBezTo>
                <a:lnTo>
                  <a:pt x="2492302" y="161047"/>
                </a:lnTo>
                <a:lnTo>
                  <a:pt x="2492302" y="178503"/>
                </a:lnTo>
                <a:lnTo>
                  <a:pt x="2492302" y="466951"/>
                </a:lnTo>
                <a:lnTo>
                  <a:pt x="2492302" y="4054665"/>
                </a:lnTo>
                <a:lnTo>
                  <a:pt x="2492303" y="4054665"/>
                </a:lnTo>
                <a:lnTo>
                  <a:pt x="2492303" y="4360569"/>
                </a:lnTo>
                <a:lnTo>
                  <a:pt x="2436217" y="4383177"/>
                </a:lnTo>
                <a:cubicBezTo>
                  <a:pt x="2178307" y="4466701"/>
                  <a:pt x="1741541" y="4521616"/>
                  <a:pt x="1246153" y="4521616"/>
                </a:cubicBezTo>
                <a:cubicBezTo>
                  <a:pt x="750764" y="4521616"/>
                  <a:pt x="313998" y="4466701"/>
                  <a:pt x="56089" y="4383177"/>
                </a:cubicBezTo>
                <a:lnTo>
                  <a:pt x="1" y="4360569"/>
                </a:lnTo>
                <a:lnTo>
                  <a:pt x="1" y="4054665"/>
                </a:lnTo>
                <a:lnTo>
                  <a:pt x="683" y="4054390"/>
                </a:lnTo>
                <a:lnTo>
                  <a:pt x="683" y="467227"/>
                </a:lnTo>
                <a:lnTo>
                  <a:pt x="0" y="466951"/>
                </a:lnTo>
                <a:lnTo>
                  <a:pt x="0" y="161047"/>
                </a:lnTo>
                <a:lnTo>
                  <a:pt x="56088" y="138439"/>
                </a:lnTo>
                <a:cubicBezTo>
                  <a:pt x="313997" y="54915"/>
                  <a:pt x="750763" y="0"/>
                  <a:pt x="124615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524000" y="498764"/>
            <a:ext cx="9144000" cy="697490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1524000" y="1223964"/>
            <a:ext cx="9144000" cy="374217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39788" y="1726784"/>
            <a:ext cx="2492303" cy="4521616"/>
          </a:xfrm>
          <a:custGeom>
            <a:avLst/>
            <a:gdLst>
              <a:gd name="connsiteX0" fmla="*/ 1246152 w 2492303"/>
              <a:gd name="connsiteY0" fmla="*/ 0 h 4521616"/>
              <a:gd name="connsiteX1" fmla="*/ 2436216 w 2492303"/>
              <a:gd name="connsiteY1" fmla="*/ 138439 h 4521616"/>
              <a:gd name="connsiteX2" fmla="*/ 2492302 w 2492303"/>
              <a:gd name="connsiteY2" fmla="*/ 161047 h 4521616"/>
              <a:gd name="connsiteX3" fmla="*/ 2492302 w 2492303"/>
              <a:gd name="connsiteY3" fmla="*/ 178503 h 4521616"/>
              <a:gd name="connsiteX4" fmla="*/ 2492302 w 2492303"/>
              <a:gd name="connsiteY4" fmla="*/ 466951 h 4521616"/>
              <a:gd name="connsiteX5" fmla="*/ 2492302 w 2492303"/>
              <a:gd name="connsiteY5" fmla="*/ 4054665 h 4521616"/>
              <a:gd name="connsiteX6" fmla="*/ 2492303 w 2492303"/>
              <a:gd name="connsiteY6" fmla="*/ 4054665 h 4521616"/>
              <a:gd name="connsiteX7" fmla="*/ 2492303 w 2492303"/>
              <a:gd name="connsiteY7" fmla="*/ 4360569 h 4521616"/>
              <a:gd name="connsiteX8" fmla="*/ 2436217 w 2492303"/>
              <a:gd name="connsiteY8" fmla="*/ 4383177 h 4521616"/>
              <a:gd name="connsiteX9" fmla="*/ 1246153 w 2492303"/>
              <a:gd name="connsiteY9" fmla="*/ 4521616 h 4521616"/>
              <a:gd name="connsiteX10" fmla="*/ 56089 w 2492303"/>
              <a:gd name="connsiteY10" fmla="*/ 4383177 h 4521616"/>
              <a:gd name="connsiteX11" fmla="*/ 1 w 2492303"/>
              <a:gd name="connsiteY11" fmla="*/ 4360569 h 4521616"/>
              <a:gd name="connsiteX12" fmla="*/ 1 w 2492303"/>
              <a:gd name="connsiteY12" fmla="*/ 4054665 h 4521616"/>
              <a:gd name="connsiteX13" fmla="*/ 683 w 2492303"/>
              <a:gd name="connsiteY13" fmla="*/ 4054390 h 4521616"/>
              <a:gd name="connsiteX14" fmla="*/ 683 w 2492303"/>
              <a:gd name="connsiteY14" fmla="*/ 467227 h 4521616"/>
              <a:gd name="connsiteX15" fmla="*/ 0 w 2492303"/>
              <a:gd name="connsiteY15" fmla="*/ 466951 h 4521616"/>
              <a:gd name="connsiteX16" fmla="*/ 0 w 2492303"/>
              <a:gd name="connsiteY16" fmla="*/ 161047 h 4521616"/>
              <a:gd name="connsiteX17" fmla="*/ 56088 w 2492303"/>
              <a:gd name="connsiteY17" fmla="*/ 138439 h 4521616"/>
              <a:gd name="connsiteX18" fmla="*/ 1246152 w 2492303"/>
              <a:gd name="connsiteY18" fmla="*/ 0 h 4521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92303" h="4521616">
                <a:moveTo>
                  <a:pt x="1246152" y="0"/>
                </a:moveTo>
                <a:cubicBezTo>
                  <a:pt x="1741540" y="0"/>
                  <a:pt x="2178306" y="54915"/>
                  <a:pt x="2436216" y="138439"/>
                </a:cubicBezTo>
                <a:lnTo>
                  <a:pt x="2492302" y="161047"/>
                </a:lnTo>
                <a:lnTo>
                  <a:pt x="2492302" y="178503"/>
                </a:lnTo>
                <a:lnTo>
                  <a:pt x="2492302" y="466951"/>
                </a:lnTo>
                <a:lnTo>
                  <a:pt x="2492302" y="4054665"/>
                </a:lnTo>
                <a:lnTo>
                  <a:pt x="2492303" y="4054665"/>
                </a:lnTo>
                <a:lnTo>
                  <a:pt x="2492303" y="4360569"/>
                </a:lnTo>
                <a:lnTo>
                  <a:pt x="2436217" y="4383177"/>
                </a:lnTo>
                <a:cubicBezTo>
                  <a:pt x="2178307" y="4466701"/>
                  <a:pt x="1741541" y="4521616"/>
                  <a:pt x="1246153" y="4521616"/>
                </a:cubicBezTo>
                <a:cubicBezTo>
                  <a:pt x="750764" y="4521616"/>
                  <a:pt x="313998" y="4466701"/>
                  <a:pt x="56089" y="4383177"/>
                </a:cubicBezTo>
                <a:lnTo>
                  <a:pt x="1" y="4360569"/>
                </a:lnTo>
                <a:lnTo>
                  <a:pt x="1" y="4054665"/>
                </a:lnTo>
                <a:lnTo>
                  <a:pt x="683" y="4054390"/>
                </a:lnTo>
                <a:lnTo>
                  <a:pt x="683" y="467227"/>
                </a:lnTo>
                <a:lnTo>
                  <a:pt x="0" y="466951"/>
                </a:lnTo>
                <a:lnTo>
                  <a:pt x="0" y="161047"/>
                </a:lnTo>
                <a:lnTo>
                  <a:pt x="56088" y="138439"/>
                </a:lnTo>
                <a:cubicBezTo>
                  <a:pt x="313997" y="54915"/>
                  <a:pt x="750763" y="0"/>
                  <a:pt x="1246152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3581400" y="1866713"/>
            <a:ext cx="5029200" cy="4267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31227847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655468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tpis fotografij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/>
          <p:cNvSpPr>
            <a:spLocks noGrp="1"/>
          </p:cNvSpPr>
          <p:nvPr>
            <p:ph type="pic" sz="quarter" idx="19"/>
          </p:nvPr>
        </p:nvSpPr>
        <p:spPr>
          <a:xfrm>
            <a:off x="6085258" y="6206"/>
            <a:ext cx="6094770" cy="3437162"/>
          </a:xfrm>
          <a:custGeom>
            <a:avLst/>
            <a:gdLst>
              <a:gd name="connsiteX0" fmla="*/ 0 w 6094770"/>
              <a:gd name="connsiteY0" fmla="*/ 0 h 3437162"/>
              <a:gd name="connsiteX1" fmla="*/ 6094770 w 6094770"/>
              <a:gd name="connsiteY1" fmla="*/ 0 h 3437162"/>
              <a:gd name="connsiteX2" fmla="*/ 6094770 w 6094770"/>
              <a:gd name="connsiteY2" fmla="*/ 779555 h 3437162"/>
              <a:gd name="connsiteX3" fmla="*/ 3437163 w 6094770"/>
              <a:gd name="connsiteY3" fmla="*/ 3437162 h 343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770" h="3437162">
                <a:moveTo>
                  <a:pt x="0" y="0"/>
                </a:moveTo>
                <a:lnTo>
                  <a:pt x="6094770" y="0"/>
                </a:lnTo>
                <a:lnTo>
                  <a:pt x="6094770" y="779555"/>
                </a:lnTo>
                <a:lnTo>
                  <a:pt x="3437163" y="34371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21"/>
          </p:nvPr>
        </p:nvSpPr>
        <p:spPr>
          <a:xfrm>
            <a:off x="8698739" y="831346"/>
            <a:ext cx="3501531" cy="6030631"/>
          </a:xfrm>
          <a:custGeom>
            <a:avLst/>
            <a:gdLst>
              <a:gd name="connsiteX0" fmla="*/ 3438394 w 3501531"/>
              <a:gd name="connsiteY0" fmla="*/ 0 h 6030631"/>
              <a:gd name="connsiteX1" fmla="*/ 3501531 w 3501531"/>
              <a:gd name="connsiteY1" fmla="*/ 63136 h 6030631"/>
              <a:gd name="connsiteX2" fmla="*/ 3501531 w 3501531"/>
              <a:gd name="connsiteY2" fmla="*/ 6030630 h 6030631"/>
              <a:gd name="connsiteX3" fmla="*/ 2592237 w 3501531"/>
              <a:gd name="connsiteY3" fmla="*/ 6030631 h 6030631"/>
              <a:gd name="connsiteX4" fmla="*/ 0 w 3501531"/>
              <a:gd name="connsiteY4" fmla="*/ 3438395 h 6030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01531" h="6030631">
                <a:moveTo>
                  <a:pt x="3438394" y="0"/>
                </a:moveTo>
                <a:lnTo>
                  <a:pt x="3501531" y="63136"/>
                </a:lnTo>
                <a:lnTo>
                  <a:pt x="3501531" y="6030630"/>
                </a:lnTo>
                <a:lnTo>
                  <a:pt x="2592237" y="6030631"/>
                </a:lnTo>
                <a:lnTo>
                  <a:pt x="0" y="343839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22"/>
          </p:nvPr>
        </p:nvSpPr>
        <p:spPr>
          <a:xfrm>
            <a:off x="6099723" y="4265119"/>
            <a:ext cx="5198029" cy="2599015"/>
          </a:xfrm>
          <a:custGeom>
            <a:avLst/>
            <a:gdLst>
              <a:gd name="connsiteX0" fmla="*/ 2599014 w 5198029"/>
              <a:gd name="connsiteY0" fmla="*/ 0 h 2599015"/>
              <a:gd name="connsiteX1" fmla="*/ 5198029 w 5198029"/>
              <a:gd name="connsiteY1" fmla="*/ 2599015 h 2599015"/>
              <a:gd name="connsiteX2" fmla="*/ 0 w 5198029"/>
              <a:gd name="connsiteY2" fmla="*/ 2599015 h 2599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198029" h="2599015">
                <a:moveTo>
                  <a:pt x="2599014" y="0"/>
                </a:moveTo>
                <a:lnTo>
                  <a:pt x="5198029" y="2599015"/>
                </a:lnTo>
                <a:lnTo>
                  <a:pt x="0" y="25990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/>
          <a:p>
            <a:pPr lvl="0"/>
            <a:endParaRPr lang="en-AU" noProof="0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23"/>
          </p:nvPr>
        </p:nvSpPr>
        <p:spPr>
          <a:xfrm>
            <a:off x="2660147" y="-14811"/>
            <a:ext cx="6876789" cy="6876789"/>
          </a:xfrm>
          <a:custGeom>
            <a:avLst/>
            <a:gdLst>
              <a:gd name="connsiteX0" fmla="*/ 3438395 w 6876789"/>
              <a:gd name="connsiteY0" fmla="*/ 0 h 6876789"/>
              <a:gd name="connsiteX1" fmla="*/ 6876789 w 6876789"/>
              <a:gd name="connsiteY1" fmla="*/ 3438394 h 6876789"/>
              <a:gd name="connsiteX2" fmla="*/ 3438395 w 6876789"/>
              <a:gd name="connsiteY2" fmla="*/ 6876789 h 6876789"/>
              <a:gd name="connsiteX3" fmla="*/ 0 w 6876789"/>
              <a:gd name="connsiteY3" fmla="*/ 3438394 h 687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76789" h="6876789">
                <a:moveTo>
                  <a:pt x="3438395" y="0"/>
                </a:moveTo>
                <a:lnTo>
                  <a:pt x="6876789" y="3438394"/>
                </a:lnTo>
                <a:lnTo>
                  <a:pt x="3438395" y="6876789"/>
                </a:lnTo>
                <a:lnTo>
                  <a:pt x="0" y="34383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/>
          <a:p>
            <a:pPr lvl="0"/>
            <a:endParaRPr lang="en-AU" noProof="0" dirty="0"/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24"/>
          </p:nvPr>
        </p:nvSpPr>
        <p:spPr>
          <a:xfrm>
            <a:off x="828720" y="4231472"/>
            <a:ext cx="5281197" cy="2640599"/>
          </a:xfrm>
          <a:custGeom>
            <a:avLst/>
            <a:gdLst>
              <a:gd name="connsiteX0" fmla="*/ 2640598 w 5281197"/>
              <a:gd name="connsiteY0" fmla="*/ 0 h 2640599"/>
              <a:gd name="connsiteX1" fmla="*/ 5281197 w 5281197"/>
              <a:gd name="connsiteY1" fmla="*/ 2640599 h 2640599"/>
              <a:gd name="connsiteX2" fmla="*/ 0 w 5281197"/>
              <a:gd name="connsiteY2" fmla="*/ 2640599 h 2640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81197" h="2640599">
                <a:moveTo>
                  <a:pt x="2640598" y="0"/>
                </a:moveTo>
                <a:lnTo>
                  <a:pt x="5281197" y="2640599"/>
                </a:lnTo>
                <a:lnTo>
                  <a:pt x="0" y="2640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/>
          <a:p>
            <a:pPr lvl="0"/>
            <a:endParaRPr lang="en-AU" noProof="0" dirty="0"/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18"/>
          </p:nvPr>
        </p:nvSpPr>
        <p:spPr>
          <a:xfrm>
            <a:off x="9322" y="-2111"/>
            <a:ext cx="6094770" cy="3437162"/>
          </a:xfrm>
          <a:custGeom>
            <a:avLst/>
            <a:gdLst>
              <a:gd name="connsiteX0" fmla="*/ 0 w 6094770"/>
              <a:gd name="connsiteY0" fmla="*/ 0 h 3437162"/>
              <a:gd name="connsiteX1" fmla="*/ 6094770 w 6094770"/>
              <a:gd name="connsiteY1" fmla="*/ 0 h 3437162"/>
              <a:gd name="connsiteX2" fmla="*/ 2657607 w 6094770"/>
              <a:gd name="connsiteY2" fmla="*/ 3437162 h 3437162"/>
              <a:gd name="connsiteX3" fmla="*/ 0 w 6094770"/>
              <a:gd name="connsiteY3" fmla="*/ 779555 h 3437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770" h="3437162">
                <a:moveTo>
                  <a:pt x="0" y="0"/>
                </a:moveTo>
                <a:lnTo>
                  <a:pt x="6094770" y="0"/>
                </a:lnTo>
                <a:lnTo>
                  <a:pt x="2657607" y="3437162"/>
                </a:lnTo>
                <a:lnTo>
                  <a:pt x="0" y="77955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20"/>
          </p:nvPr>
        </p:nvSpPr>
        <p:spPr>
          <a:xfrm>
            <a:off x="2542" y="831348"/>
            <a:ext cx="3495804" cy="6030021"/>
          </a:xfrm>
          <a:custGeom>
            <a:avLst/>
            <a:gdLst>
              <a:gd name="connsiteX0" fmla="*/ 57409 w 3495804"/>
              <a:gd name="connsiteY0" fmla="*/ 0 h 6030021"/>
              <a:gd name="connsiteX1" fmla="*/ 3495804 w 3495804"/>
              <a:gd name="connsiteY1" fmla="*/ 3438394 h 6030021"/>
              <a:gd name="connsiteX2" fmla="*/ 904178 w 3495804"/>
              <a:gd name="connsiteY2" fmla="*/ 6030021 h 6030021"/>
              <a:gd name="connsiteX3" fmla="*/ 0 w 3495804"/>
              <a:gd name="connsiteY3" fmla="*/ 6030021 h 6030021"/>
              <a:gd name="connsiteX4" fmla="*/ 0 w 3495804"/>
              <a:gd name="connsiteY4" fmla="*/ 57409 h 6030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5804" h="6030021">
                <a:moveTo>
                  <a:pt x="57409" y="0"/>
                </a:moveTo>
                <a:lnTo>
                  <a:pt x="3495804" y="3438394"/>
                </a:lnTo>
                <a:lnTo>
                  <a:pt x="904178" y="6030021"/>
                </a:lnTo>
                <a:lnTo>
                  <a:pt x="0" y="6030021"/>
                </a:lnTo>
                <a:lnTo>
                  <a:pt x="0" y="5740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57150">
            <a:solidFill>
              <a:schemeClr val="bg1"/>
            </a:solidFill>
          </a:ln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44" name="Title 1"/>
          <p:cNvSpPr>
            <a:spLocks noGrp="1"/>
          </p:cNvSpPr>
          <p:nvPr>
            <p:ph type="ctrTitle"/>
          </p:nvPr>
        </p:nvSpPr>
        <p:spPr>
          <a:xfrm>
            <a:off x="1524000" y="498764"/>
            <a:ext cx="9144000" cy="697490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45" name="Subtitle 2"/>
          <p:cNvSpPr>
            <a:spLocks noGrp="1"/>
          </p:cNvSpPr>
          <p:nvPr>
            <p:ph type="subTitle" idx="1"/>
          </p:nvPr>
        </p:nvSpPr>
        <p:spPr>
          <a:xfrm>
            <a:off x="1524000" y="1223964"/>
            <a:ext cx="9144000" cy="374217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4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838200" y="2004684"/>
            <a:ext cx="5256212" cy="471600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38200" y="2491524"/>
            <a:ext cx="5256212" cy="1759526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839788" y="4383089"/>
            <a:ext cx="5254625" cy="493712"/>
          </a:xfrm>
        </p:spPr>
        <p:txBody>
          <a:bodyPr>
            <a:normAutofit/>
          </a:bodyPr>
          <a:lstStyle>
            <a:lvl1pPr marL="0" indent="0">
              <a:buNone/>
              <a:defRPr sz="1600" b="1" i="1"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839788" y="4876800"/>
            <a:ext cx="5254625" cy="493713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839788" y="5370513"/>
            <a:ext cx="5256212" cy="36036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0854901"/>
      </p:ext>
    </p:extLst>
  </p:cSld>
  <p:clrMapOvr>
    <a:masterClrMapping/>
  </p:clrMapOvr>
  <p:transition spd="slow" advTm="0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cetna 2 bez sli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 userDrawn="1"/>
        </p:nvSpPr>
        <p:spPr>
          <a:xfrm>
            <a:off x="6096000" y="3886200"/>
            <a:ext cx="6019800" cy="28194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2588" y="6475413"/>
            <a:ext cx="20161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7000" y="4267200"/>
            <a:ext cx="5029200" cy="850900"/>
          </a:xfrm>
        </p:spPr>
        <p:txBody>
          <a:bodyPr>
            <a:normAutofit/>
          </a:bodyPr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34200" y="5508625"/>
            <a:ext cx="4152900" cy="762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0231464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385144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524000" y="498764"/>
            <a:ext cx="9144000" cy="697490"/>
          </a:xfrm>
        </p:spPr>
        <p:txBody>
          <a:bodyPr>
            <a:normAutofit/>
          </a:bodyPr>
          <a:lstStyle>
            <a:lvl1pPr algn="ctr"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524000" y="1223964"/>
            <a:ext cx="9144000" cy="374217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0"/>
          </p:nvPr>
        </p:nvSpPr>
        <p:spPr>
          <a:xfrm>
            <a:off x="1357313" y="2408648"/>
            <a:ext cx="4738687" cy="3612740"/>
          </a:xfrm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chart</a:t>
            </a:r>
            <a:endParaRPr lang="en-AU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31473" y="2062397"/>
            <a:ext cx="4335463" cy="471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31473" y="2549237"/>
            <a:ext cx="4335463" cy="1759526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6831473" y="4590027"/>
            <a:ext cx="4335463" cy="471487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6831473" y="5075802"/>
            <a:ext cx="4335463" cy="9382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Lato Light" panose="020F0302020204030203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789028"/>
      </p:ext>
    </p:extLst>
  </p:cSld>
  <p:clrMapOvr>
    <a:masterClrMapping/>
  </p:clrMapOvr>
  <p:transition spd="slow" advTm="0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43844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920492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drzaj fotografij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7191970" y="0"/>
            <a:ext cx="2499221" cy="2351314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9692779" y="0"/>
            <a:ext cx="2499221" cy="2351314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7191970" y="2351314"/>
            <a:ext cx="5000030" cy="2154465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7191970" y="4505779"/>
            <a:ext cx="2499221" cy="2351314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692779" y="4505779"/>
            <a:ext cx="2499221" cy="2351314"/>
          </a:xfrm>
          <a:solidFill>
            <a:schemeClr val="bg1">
              <a:lumMod val="85000"/>
            </a:schemeClr>
          </a:solidFill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0"/>
          </p:nvPr>
        </p:nvSpPr>
        <p:spPr>
          <a:xfrm>
            <a:off x="381000" y="304800"/>
            <a:ext cx="6032500" cy="59436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2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AF7F0212-4718-4CDC-BAFD-1786BD4027CB}" type="slidenum">
              <a:rPr lang="en-AU" altLang="sr-Latn-RS"/>
              <a:pPr>
                <a:defRPr/>
              </a:pPr>
              <a:t>‹#›</a:t>
            </a:fld>
            <a:endParaRPr lang="en-AU" altLang="sr-Latn-RS"/>
          </a:p>
        </p:txBody>
      </p:sp>
    </p:spTree>
    <p:extLst>
      <p:ext uri="{BB962C8B-B14F-4D97-AF65-F5344CB8AC3E}">
        <p14:creationId xmlns:p14="http://schemas.microsoft.com/office/powerpoint/2010/main" val="2327577051"/>
      </p:ext>
    </p:extLst>
  </p:cSld>
  <p:clrMapOvr>
    <a:masterClrMapping/>
  </p:clrMapOvr>
  <p:transition spd="slow" advTm="0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drzaj, tekst, fotograf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 userDrawn="1"/>
        </p:nvGraphicFramePr>
        <p:xfrm>
          <a:off x="228600" y="4343400"/>
          <a:ext cx="5410200" cy="1828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413500" y="1828800"/>
            <a:ext cx="5778500" cy="4724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698817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ala na pazn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10668000" y="6172200"/>
            <a:ext cx="1143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200" b="1" dirty="0" smtClean="0">
                <a:solidFill>
                  <a:srgbClr val="005395"/>
                </a:solidFill>
                <a:latin typeface="Calibri" panose="020F0502020204030204" pitchFamily="34" charset="0"/>
              </a:rPr>
              <a:t>www.eps.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67200" y="2438400"/>
            <a:ext cx="4648200" cy="1233424"/>
          </a:xfrm>
        </p:spPr>
        <p:txBody>
          <a:bodyPr>
            <a:normAutofit/>
          </a:bodyPr>
          <a:lstStyle>
            <a:lvl1pPr algn="ctr">
              <a:defRPr sz="4000" b="1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510380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cet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 userDrawn="1"/>
        </p:nvSpPr>
        <p:spPr>
          <a:xfrm>
            <a:off x="914400" y="4038600"/>
            <a:ext cx="2590800" cy="16383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800" y="6421438"/>
            <a:ext cx="2263775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ounded Rectangle 5"/>
          <p:cNvSpPr/>
          <p:nvPr userDrawn="1"/>
        </p:nvSpPr>
        <p:spPr>
          <a:xfrm>
            <a:off x="4876800" y="4038600"/>
            <a:ext cx="2590800" cy="16383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ounded Rectangle 6"/>
          <p:cNvSpPr/>
          <p:nvPr userDrawn="1"/>
        </p:nvSpPr>
        <p:spPr>
          <a:xfrm>
            <a:off x="8915400" y="4038600"/>
            <a:ext cx="2590800" cy="16383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533" y="4181475"/>
            <a:ext cx="2404534" cy="13525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70463" y="4181475"/>
            <a:ext cx="2403475" cy="1352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/>
          <a:srcRect t="10101" b="4336"/>
          <a:stretch/>
        </p:blipFill>
        <p:spPr>
          <a:xfrm>
            <a:off x="9009063" y="4181475"/>
            <a:ext cx="2403475" cy="1371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52850" y="1223963"/>
            <a:ext cx="5029200" cy="850900"/>
          </a:xfrm>
        </p:spPr>
        <p:txBody>
          <a:bodyPr>
            <a:noAutofit/>
          </a:bodyPr>
          <a:lstStyle>
            <a:lvl1pPr algn="ctr">
              <a:defRPr sz="3200" b="1">
                <a:solidFill>
                  <a:srgbClr val="00539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91000" y="2590800"/>
            <a:ext cx="4152900" cy="3048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 cap="none" baseline="0">
                <a:solidFill>
                  <a:srgbClr val="005395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30437969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cetn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 userDrawn="1"/>
        </p:nvSpPr>
        <p:spPr>
          <a:xfrm>
            <a:off x="207963" y="4032250"/>
            <a:ext cx="2590800" cy="16383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t="10101" b="4336"/>
          <a:stretch/>
        </p:blipFill>
        <p:spPr>
          <a:xfrm>
            <a:off x="300038" y="4175125"/>
            <a:ext cx="2405062" cy="1371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575" y="1271588"/>
            <a:ext cx="12220575" cy="566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 userDrawn="1"/>
        </p:nvSpPr>
        <p:spPr>
          <a:xfrm>
            <a:off x="152400" y="304800"/>
            <a:ext cx="2590800" cy="16383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Rounded Rectangle 7"/>
          <p:cNvSpPr/>
          <p:nvPr userDrawn="1"/>
        </p:nvSpPr>
        <p:spPr>
          <a:xfrm>
            <a:off x="152400" y="2171700"/>
            <a:ext cx="2590800" cy="1638300"/>
          </a:xfrm>
          <a:prstGeom prst="roundRect">
            <a:avLst/>
          </a:prstGeom>
          <a:solidFill>
            <a:srgbClr val="00539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33" y="447675"/>
            <a:ext cx="2404534" cy="13525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6063" y="2324100"/>
            <a:ext cx="2403475" cy="1352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5400" y="6477000"/>
            <a:ext cx="262890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67350" y="1839583"/>
            <a:ext cx="6076950" cy="1595437"/>
          </a:xfrm>
        </p:spPr>
        <p:txBody>
          <a:bodyPr>
            <a:noAutofit/>
          </a:bodyPr>
          <a:lstStyle>
            <a:lvl1pPr algn="ctr">
              <a:defRPr sz="3600" b="1">
                <a:solidFill>
                  <a:srgbClr val="00539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91400" y="3886200"/>
            <a:ext cx="4152900" cy="762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 cap="none" baseline="0">
                <a:solidFill>
                  <a:srgbClr val="005395"/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1998776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cetn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AU" noProof="0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524000" y="3951412"/>
            <a:ext cx="9144000" cy="697490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00539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524000" y="4676612"/>
            <a:ext cx="9144000" cy="374217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539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8782164"/>
      </p:ext>
    </p:extLst>
  </p:cSld>
  <p:clrMapOvr>
    <a:masterClrMapping/>
  </p:clrMapOvr>
  <p:transition spd="slow" advTm="0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adrz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66725"/>
            <a:ext cx="10515600" cy="6762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24000"/>
            <a:ext cx="10515600" cy="4505325"/>
          </a:xfrm>
        </p:spPr>
        <p:txBody>
          <a:bodyPr/>
          <a:lstStyle>
            <a:lvl6pPr>
              <a:defRPr/>
            </a:lvl6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75713" y="6602413"/>
            <a:ext cx="960437" cy="2365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DB2E592-EC49-4B0B-BBF0-2643AC11858C}" type="datetimeFigureOut">
              <a:rPr lang="en-US"/>
              <a:pPr>
                <a:defRPr/>
              </a:pPr>
              <a:t>4/16/2018</a:t>
            </a:fld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10800" y="6602413"/>
            <a:ext cx="639763" cy="2365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CFB9EC87-3D1E-4CC5-B850-56519500E618}" type="slidenum">
              <a:rPr lang="sr-Latn-RS" altLang="sr-Latn-RS"/>
              <a:pPr>
                <a:defRPr/>
              </a:pPr>
              <a:t>‹#›</a:t>
            </a:fld>
            <a:endParaRPr lang="sr-Latn-RS" altLang="sr-Latn-RS"/>
          </a:p>
        </p:txBody>
      </p:sp>
    </p:spTree>
    <p:extLst>
      <p:ext uri="{BB962C8B-B14F-4D97-AF65-F5344CB8AC3E}">
        <p14:creationId xmlns:p14="http://schemas.microsoft.com/office/powerpoint/2010/main" val="3404044239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drzaj fotograf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762000" y="4876800"/>
            <a:ext cx="2590800" cy="1638300"/>
            <a:chOff x="762000" y="4953000"/>
            <a:chExt cx="2590800" cy="1638300"/>
          </a:xfrm>
        </p:grpSpPr>
        <p:sp>
          <p:nvSpPr>
            <p:cNvPr id="4" name="Rounded Rectangle 3"/>
            <p:cNvSpPr/>
            <p:nvPr userDrawn="1"/>
          </p:nvSpPr>
          <p:spPr>
            <a:xfrm>
              <a:off x="762000" y="4953000"/>
              <a:ext cx="2590800" cy="1638300"/>
            </a:xfrm>
            <a:prstGeom prst="roundRect">
              <a:avLst/>
            </a:prstGeom>
            <a:solidFill>
              <a:srgbClr val="005395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/>
            <a:srcRect t="10101" b="4336"/>
            <a:stretch/>
          </p:blipFill>
          <p:spPr>
            <a:xfrm>
              <a:off x="855663" y="5095875"/>
              <a:ext cx="2403475" cy="13716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685800" y="571500"/>
            <a:ext cx="2611438" cy="3848100"/>
            <a:chOff x="685800" y="571500"/>
            <a:chExt cx="2611967" cy="3848100"/>
          </a:xfrm>
        </p:grpSpPr>
        <p:sp>
          <p:nvSpPr>
            <p:cNvPr id="7" name="Rounded Rectangle 6"/>
            <p:cNvSpPr/>
            <p:nvPr userDrawn="1"/>
          </p:nvSpPr>
          <p:spPr>
            <a:xfrm>
              <a:off x="685800" y="2781300"/>
              <a:ext cx="2591325" cy="1638300"/>
            </a:xfrm>
            <a:prstGeom prst="roundRect">
              <a:avLst/>
            </a:prstGeom>
            <a:solidFill>
              <a:srgbClr val="005395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grpSp>
          <p:nvGrpSpPr>
            <p:cNvPr id="8" name="Group 13"/>
            <p:cNvGrpSpPr>
              <a:grpSpLocks/>
            </p:cNvGrpSpPr>
            <p:nvPr userDrawn="1"/>
          </p:nvGrpSpPr>
          <p:grpSpPr bwMode="auto">
            <a:xfrm>
              <a:off x="706967" y="571500"/>
              <a:ext cx="2590800" cy="1638300"/>
              <a:chOff x="706967" y="571500"/>
              <a:chExt cx="2590800" cy="1638300"/>
            </a:xfrm>
          </p:grpSpPr>
          <p:sp>
            <p:nvSpPr>
              <p:cNvPr id="10" name="Rounded Rectangle 9"/>
              <p:cNvSpPr/>
              <p:nvPr userDrawn="1"/>
            </p:nvSpPr>
            <p:spPr>
              <a:xfrm>
                <a:off x="706442" y="571500"/>
                <a:ext cx="2591325" cy="1638300"/>
              </a:xfrm>
              <a:prstGeom prst="roundRect">
                <a:avLst/>
              </a:prstGeom>
              <a:solidFill>
                <a:srgbClr val="005395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pic>
            <p:nvPicPr>
              <p:cNvPr id="11" name="Picture 10"/>
              <p:cNvPicPr>
                <a:picLocks noChangeAspect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5866" y="714375"/>
                <a:ext cx="2404534" cy="135255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00123" y="2933700"/>
              <a:ext cx="2403962" cy="135255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13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6656388"/>
            <a:ext cx="16764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6477000" y="560614"/>
            <a:ext cx="5486400" cy="60197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9328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4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slovni slajd pl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ltGray">
          <a:xfrm>
            <a:off x="0" y="0"/>
            <a:ext cx="12188825" cy="457200"/>
          </a:xfrm>
          <a:prstGeom prst="rect">
            <a:avLst/>
          </a:prstGeom>
          <a:solidFill>
            <a:srgbClr val="0053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sp>
        <p:nvSpPr>
          <p:cNvPr id="5" name="Rectangle 4"/>
          <p:cNvSpPr/>
          <p:nvPr/>
        </p:nvSpPr>
        <p:spPr bwMode="white">
          <a:xfrm>
            <a:off x="0" y="411163"/>
            <a:ext cx="12188825" cy="46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1143000"/>
            <a:ext cx="9144000" cy="2667000"/>
          </a:xfrm>
        </p:spPr>
        <p:txBody>
          <a:bodyPr>
            <a:normAutofit/>
          </a:bodyPr>
          <a:lstStyle>
            <a:lvl1pPr algn="ctr">
              <a:defRPr sz="5200" b="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4000" y="3810000"/>
            <a:ext cx="9144000" cy="114300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0" y="6602413"/>
            <a:ext cx="12188825" cy="236537"/>
          </a:xfrm>
          <a:solidFill>
            <a:srgbClr val="005395"/>
          </a:solidFill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83602309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795872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6"/>
          <p:cNvSpPr>
            <a:spLocks noChangeArrowheads="1"/>
          </p:cNvSpPr>
          <p:nvPr/>
        </p:nvSpPr>
        <p:spPr bwMode="ltGray">
          <a:xfrm>
            <a:off x="1588" y="6583363"/>
            <a:ext cx="12188825" cy="274637"/>
          </a:xfrm>
          <a:prstGeom prst="rect">
            <a:avLst/>
          </a:prstGeom>
          <a:solidFill>
            <a:srgbClr val="0053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rbel" panose="020B0503020204020204" pitchFamily="34" charset="0"/>
              </a:defRPr>
            </a:lvl9pPr>
          </a:lstStyle>
          <a:p>
            <a:pPr algn="ctr" eaLnBrk="1" hangingPunct="1">
              <a:defRPr/>
            </a:pPr>
            <a:endParaRPr lang="en-US" altLang="en-US" smtClean="0">
              <a:solidFill>
                <a:srgbClr val="FFFFFF"/>
              </a:solidFill>
              <a:latin typeface="Euphemia"/>
            </a:endParaRPr>
          </a:p>
        </p:txBody>
      </p:sp>
      <p:sp>
        <p:nvSpPr>
          <p:cNvPr id="8" name="Rectangle 7"/>
          <p:cNvSpPr/>
          <p:nvPr/>
        </p:nvSpPr>
        <p:spPr bwMode="white">
          <a:xfrm>
            <a:off x="1588" y="6583363"/>
            <a:ext cx="12188825" cy="46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/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0" y="466725"/>
            <a:ext cx="1066800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62000" y="1524000"/>
            <a:ext cx="10668000" cy="450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41438" y="6602413"/>
            <a:ext cx="7159625" cy="2365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 cap="all" baseline="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endParaRPr/>
          </a:p>
        </p:txBody>
      </p:sp>
      <p:pic>
        <p:nvPicPr>
          <p:cNvPr id="1031" name="Picture 3"/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296025"/>
            <a:ext cx="16764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  <p:sldLayoutId id="2147484152" r:id="rId6"/>
    <p:sldLayoutId id="2147484153" r:id="rId7"/>
    <p:sldLayoutId id="2147484154" r:id="rId8"/>
    <p:sldLayoutId id="2147484155" r:id="rId9"/>
    <p:sldLayoutId id="2147484156" r:id="rId10"/>
    <p:sldLayoutId id="2147484157" r:id="rId11"/>
    <p:sldLayoutId id="2147484158" r:id="rId12"/>
    <p:sldLayoutId id="2147484145" r:id="rId13"/>
    <p:sldLayoutId id="2147484159" r:id="rId14"/>
    <p:sldLayoutId id="2147484160" r:id="rId15"/>
    <p:sldLayoutId id="2147484146" r:id="rId16"/>
    <p:sldLayoutId id="2147484161" r:id="rId17"/>
    <p:sldLayoutId id="2147484162" r:id="rId18"/>
    <p:sldLayoutId id="2147484163" r:id="rId19"/>
    <p:sldLayoutId id="2147484164" r:id="rId20"/>
    <p:sldLayoutId id="2147484165" r:id="rId21"/>
    <p:sldLayoutId id="2147484166" r:id="rId22"/>
    <p:sldLayoutId id="2147484167" r:id="rId23"/>
    <p:sldLayoutId id="2147484168" r:id="rId24"/>
    <p:sldLayoutId id="2147484169" r:id="rId25"/>
    <p:sldLayoutId id="2147484170" r:id="rId26"/>
    <p:sldLayoutId id="2147484171" r:id="rId27"/>
    <p:sldLayoutId id="2147484172" r:id="rId28"/>
    <p:sldLayoutId id="2147484173" r:id="rId29"/>
    <p:sldLayoutId id="2147484174" r:id="rId30"/>
    <p:sldLayoutId id="2147484175" r:id="rId31"/>
    <p:sldLayoutId id="2147484176" r:id="rId32"/>
    <p:sldLayoutId id="2147484177" r:id="rId33"/>
    <p:sldLayoutId id="2147484178" r:id="rId34"/>
    <p:sldLayoutId id="2147484179" r:id="rId35"/>
    <p:sldLayoutId id="2147484180" r:id="rId36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 kern="1200">
          <a:solidFill>
            <a:srgbClr val="005395"/>
          </a:solidFill>
          <a:latin typeface="Calibri" panose="020F050202020403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defRPr sz="3400">
          <a:solidFill>
            <a:srgbClr val="005395"/>
          </a:solidFill>
          <a:latin typeface="Calibri" panose="020F0502020204030204" pitchFamily="34" charset="0"/>
          <a:cs typeface="Arial" panose="020B0604020202020204" pitchFamily="34" charset="0"/>
        </a:defRPr>
      </a:lvl9pPr>
    </p:titleStyle>
    <p:bodyStyle>
      <a:lvl1pPr marL="273050" indent="-228600" algn="l" rtl="0" eaLnBrk="0" fontAlgn="base" hangingPunct="0">
        <a:lnSpc>
          <a:spcPct val="90000"/>
        </a:lnSpc>
        <a:spcBef>
          <a:spcPts val="18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2000" kern="1200">
          <a:solidFill>
            <a:srgbClr val="005395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1pPr>
      <a:lvl2pPr marL="593725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 kern="1200">
          <a:solidFill>
            <a:schemeClr val="tx2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2pPr>
      <a:lvl3pPr marL="914400" indent="-22860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3pPr>
      <a:lvl4pPr marL="1233488" indent="-22860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4pPr>
      <a:lvl5pPr marL="1554163" indent="-228600" algn="l" rtl="0" eaLnBrk="0" fontAlgn="base" hangingPunct="0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Arial" panose="020B0604020202020204" pitchFamily="34" charset="0"/>
        </a:defRPr>
      </a:lvl5pPr>
      <a:lvl6pPr marL="187452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219456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51460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834640" indent="-228600" algn="l" defTabSz="914400" rtl="0" eaLnBrk="1" latinLnBrk="0" hangingPunct="1">
        <a:lnSpc>
          <a:spcPct val="90000"/>
        </a:lnSpc>
        <a:spcBef>
          <a:spcPts val="800"/>
        </a:spcBef>
        <a:buSzPct val="80000"/>
        <a:buFont typeface="Wingdings" pitchFamily="2" charset="2"/>
        <a:buChar char="§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37.jpe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6.jp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8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41.jp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6.jp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61" b="20561"/>
          <a:stretch>
            <a:fillRect/>
          </a:stretch>
        </p:blipFill>
        <p:spPr/>
      </p:pic>
      <p:sp>
        <p:nvSpPr>
          <p:cNvPr id="4" name="TextBox 3"/>
          <p:cNvSpPr txBox="1"/>
          <p:nvPr/>
        </p:nvSpPr>
        <p:spPr>
          <a:xfrm>
            <a:off x="6705600" y="6062658"/>
            <a:ext cx="53751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r-Cyrl-RS" sz="2000" b="1" dirty="0" smtClean="0">
                <a:solidFill>
                  <a:schemeClr val="bg1"/>
                </a:solidFill>
              </a:rPr>
              <a:t>Слободан Митровић</a:t>
            </a:r>
          </a:p>
          <a:p>
            <a:pPr algn="ctr"/>
            <a:r>
              <a:rPr lang="sr-Cyrl-RS" sz="1600" dirty="0" smtClean="0">
                <a:solidFill>
                  <a:schemeClr val="bg1"/>
                </a:solidFill>
              </a:rPr>
              <a:t>Извршни Директор за техничке послове производње угља</a:t>
            </a:r>
            <a:endParaRPr lang="sr-Latn-RS" sz="1600" dirty="0">
              <a:solidFill>
                <a:schemeClr val="bg1"/>
              </a:solidFill>
            </a:endParaRPr>
          </a:p>
        </p:txBody>
      </p:sp>
      <p:sp>
        <p:nvSpPr>
          <p:cNvPr id="6" name="Title 5"/>
          <p:cNvSpPr txBox="1">
            <a:spLocks noGrp="1"/>
          </p:cNvSpPr>
          <p:nvPr>
            <p:ph type="ctrTitle"/>
          </p:nvPr>
        </p:nvSpPr>
        <p:spPr>
          <a:xfrm>
            <a:off x="581228" y="5103370"/>
            <a:ext cx="11029559" cy="8402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5400" dirty="0" smtClean="0"/>
              <a:t>Угаљ – стабилан ослонац енергетике</a:t>
            </a:r>
            <a:endParaRPr lang="sr-Latn-RS" sz="5400" dirty="0"/>
          </a:p>
        </p:txBody>
      </p:sp>
    </p:spTree>
    <p:extLst>
      <p:ext uri="{BB962C8B-B14F-4D97-AF65-F5344CB8AC3E}">
        <p14:creationId xmlns:p14="http://schemas.microsoft.com/office/powerpoint/2010/main" val="27863615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981200" y="152400"/>
            <a:ext cx="815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Производња угља  - актуелна </a:t>
            </a:r>
            <a:r>
              <a:rPr lang="sr-Cyrl-RS" b="1" u="sng" dirty="0" smtClean="0">
                <a:sym typeface="Calibri" panose="020F0502020204030204" pitchFamily="34" charset="0"/>
              </a:rPr>
              <a:t>проблематика у ЈП ЕПС-у</a:t>
            </a:r>
            <a:endParaRPr lang="sr-Cyrl-RS" b="1" u="sng" dirty="0">
              <a:sym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6187" y="1432791"/>
            <a:ext cx="365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 smtClean="0"/>
              <a:t>Застоји изазвани поплавама 2014. годин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2120" y="2112971"/>
            <a:ext cx="3429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 smtClean="0"/>
              <a:t>Неблаговремено решавање имовинско-правних односа при експропријациј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66187" y="4783065"/>
            <a:ext cx="2971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 smtClean="0"/>
              <a:t>Споре процедуре у спровођењу поступака Јавних набавки</a:t>
            </a:r>
          </a:p>
        </p:txBody>
      </p:sp>
      <p:sp>
        <p:nvSpPr>
          <p:cNvPr id="8" name="Right Arrow Callout 7"/>
          <p:cNvSpPr/>
          <p:nvPr/>
        </p:nvSpPr>
        <p:spPr>
          <a:xfrm>
            <a:off x="3909488" y="959528"/>
            <a:ext cx="569582" cy="3307671"/>
          </a:xfrm>
          <a:prstGeom prst="rightArrowCallou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4566619" y="2159150"/>
            <a:ext cx="17431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b="1" dirty="0" smtClean="0"/>
              <a:t>Технолошки проблеми</a:t>
            </a:r>
          </a:p>
          <a:p>
            <a:r>
              <a:rPr lang="sr-Cyrl-RS" b="1" dirty="0"/>
              <a:t> </a:t>
            </a:r>
            <a:r>
              <a:rPr lang="sr-Cyrl-RS" b="1" dirty="0" smtClean="0"/>
              <a:t> 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12120" y="3107526"/>
            <a:ext cx="36048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 smtClean="0"/>
              <a:t>Неблаговремене активности на пословима предодводњавања и одводњавања</a:t>
            </a:r>
          </a:p>
        </p:txBody>
      </p:sp>
      <p:sp>
        <p:nvSpPr>
          <p:cNvPr id="11" name="Right Arrow Callout 10"/>
          <p:cNvSpPr/>
          <p:nvPr/>
        </p:nvSpPr>
        <p:spPr>
          <a:xfrm>
            <a:off x="3916992" y="4460867"/>
            <a:ext cx="569582" cy="1769083"/>
          </a:xfrm>
          <a:prstGeom prst="rightArrowCallou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4506868" y="4491822"/>
            <a:ext cx="26669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b="1" dirty="0" smtClean="0"/>
              <a:t>Проблеми у одржавању опреме</a:t>
            </a:r>
          </a:p>
          <a:p>
            <a:r>
              <a:rPr lang="sr-Cyrl-RS" b="1" dirty="0"/>
              <a:t> </a:t>
            </a:r>
            <a:r>
              <a:rPr lang="sr-Cyrl-RS" b="1" dirty="0" smtClean="0"/>
              <a:t>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506868" y="5244730"/>
            <a:ext cx="266699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b="1" dirty="0" smtClean="0"/>
              <a:t>Проблеми у инвестиционим активностима</a:t>
            </a:r>
          </a:p>
          <a:p>
            <a:r>
              <a:rPr lang="sr-Cyrl-RS" b="1" dirty="0"/>
              <a:t> </a:t>
            </a:r>
            <a:r>
              <a:rPr lang="sr-Cyrl-RS" b="1" dirty="0" smtClean="0"/>
              <a:t>  </a:t>
            </a:r>
          </a:p>
        </p:txBody>
      </p:sp>
      <p:sp>
        <p:nvSpPr>
          <p:cNvPr id="15" name="Right Arrow Callout 14"/>
          <p:cNvSpPr/>
          <p:nvPr/>
        </p:nvSpPr>
        <p:spPr>
          <a:xfrm>
            <a:off x="6934200" y="914400"/>
            <a:ext cx="569582" cy="5315550"/>
          </a:xfrm>
          <a:prstGeom prst="rightArrowCallou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7660496" y="1513651"/>
            <a:ext cx="3946432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b="1" dirty="0" smtClean="0"/>
              <a:t>ПОСЛЕДИЦЕ</a:t>
            </a:r>
          </a:p>
          <a:p>
            <a:pPr marL="285750" indent="-285750">
              <a:buFontTx/>
              <a:buChar char="-"/>
            </a:pPr>
            <a:endParaRPr lang="sr-Cyrl-R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/>
              <a:t>Недовољно смештајног простора за одлагање јаловин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u="sng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b="1" u="sng" dirty="0" smtClean="0"/>
              <a:t>Немогућност поштовања динамике напредовања рударских радова на откопавању откривк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r-Cyrl-R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sz="2800" b="1" i="1" dirty="0" smtClean="0">
                <a:solidFill>
                  <a:srgbClr val="C00000"/>
                </a:solidFill>
              </a:rPr>
              <a:t>Недовољне количине откривеног угља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0723" y="867320"/>
            <a:ext cx="39464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b="1" dirty="0" smtClean="0"/>
              <a:t>УЗРОЦИ</a:t>
            </a:r>
          </a:p>
          <a:p>
            <a:pPr marL="285750" indent="-285750">
              <a:buFontTx/>
              <a:buChar char="-"/>
            </a:pPr>
            <a:endParaRPr lang="sr-Cyrl-RS" b="1" dirty="0"/>
          </a:p>
        </p:txBody>
      </p:sp>
    </p:spTree>
    <p:extLst>
      <p:ext uri="{BB962C8B-B14F-4D97-AF65-F5344CB8AC3E}">
        <p14:creationId xmlns:p14="http://schemas.microsoft.com/office/powerpoint/2010/main" val="38601182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7200" y="152400"/>
            <a:ext cx="1097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„Изнуђене“ технолошке активности за превазилажења актуелне проблематик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81000" y="1106507"/>
            <a:ext cx="1129241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/>
              <a:t>1. Максимално могуће коришћење расположивих производних капацитета на локацијама са најмање проблема</a:t>
            </a:r>
          </a:p>
          <a:p>
            <a:endParaRPr lang="sr-Cyrl-R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/>
              <a:t>Површински коп „Тамнава-Западно поље“ </a:t>
            </a:r>
          </a:p>
          <a:p>
            <a:pPr marL="285750" indent="-285750">
              <a:buFontTx/>
              <a:buChar char="-"/>
            </a:pPr>
            <a:r>
              <a:rPr lang="sr-Cyrl-RS" dirty="0" smtClean="0"/>
              <a:t>пројектован за производњу од 12 милиона тона угља годишње  </a:t>
            </a:r>
          </a:p>
          <a:p>
            <a:pPr marL="285750" indent="-285750">
              <a:buFontTx/>
              <a:buChar char="-"/>
            </a:pPr>
            <a:r>
              <a:rPr lang="sr-Cyrl-RS" dirty="0" smtClean="0"/>
              <a:t>2017. године је произведено </a:t>
            </a:r>
            <a:r>
              <a:rPr lang="sr-Latn-RS" dirty="0" smtClean="0"/>
              <a:t>oko </a:t>
            </a:r>
            <a:r>
              <a:rPr lang="sr-Cyrl-RS" dirty="0" smtClean="0"/>
              <a:t>1</a:t>
            </a:r>
            <a:r>
              <a:rPr lang="sr-Latn-RS" dirty="0" smtClean="0"/>
              <a:t>7</a:t>
            </a:r>
            <a:r>
              <a:rPr lang="sr-Cyrl-RS" dirty="0" smtClean="0"/>
              <a:t> милиона тона угља</a:t>
            </a:r>
          </a:p>
          <a:p>
            <a:pPr marL="285750" indent="-285750">
              <a:buFontTx/>
              <a:buChar char="-"/>
            </a:pPr>
            <a:endParaRPr lang="sr-Cyrl-R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/>
              <a:t>Површински коп „Поље Г“</a:t>
            </a:r>
          </a:p>
          <a:p>
            <a:pPr marL="285750" indent="-285750">
              <a:buFontTx/>
              <a:buChar char="-"/>
            </a:pPr>
            <a:r>
              <a:rPr lang="sr-Cyrl-RS" dirty="0" smtClean="0"/>
              <a:t>током лета 2017. године је „форсирано“ откопавање откривке, како би пред зимску сезону било довољно откривеног угља</a:t>
            </a:r>
          </a:p>
          <a:p>
            <a:endParaRPr lang="sr-Cyrl-R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381000" y="3917216"/>
            <a:ext cx="112924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/>
              <a:t>2. Максимално могуће откопавање тренутно доступних количина угља</a:t>
            </a:r>
          </a:p>
          <a:p>
            <a:endParaRPr lang="sr-Cyrl-R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Cyrl-RS" dirty="0" smtClean="0"/>
              <a:t>Површински коп „Поље Д“</a:t>
            </a:r>
          </a:p>
          <a:p>
            <a:pPr marL="285750" indent="-285750">
              <a:buFontTx/>
              <a:buChar char="-"/>
            </a:pPr>
            <a:r>
              <a:rPr lang="sr-Cyrl-RS" dirty="0" smtClean="0"/>
              <a:t>„форсирање“ откопавања угља у северо-западном дели копа (зона Вреоца)</a:t>
            </a:r>
          </a:p>
        </p:txBody>
      </p:sp>
    </p:spTree>
    <p:extLst>
      <p:ext uri="{BB962C8B-B14F-4D97-AF65-F5344CB8AC3E}">
        <p14:creationId xmlns:p14="http://schemas.microsoft.com/office/powerpoint/2010/main" val="37665009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9014" y="152400"/>
            <a:ext cx="1097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Ризици и последице „изнуђених“ технолошких активности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04800" y="934228"/>
            <a:ext cx="373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u="sng" dirty="0" smtClean="0"/>
              <a:t>Нарушавање стабилности радних косина на откопавању и одлагању</a:t>
            </a:r>
            <a:endParaRPr lang="sr-Cyrl-RS" b="1" dirty="0" smtClean="0"/>
          </a:p>
        </p:txBody>
      </p:sp>
      <p:sp>
        <p:nvSpPr>
          <p:cNvPr id="7" name="Rectangle 6"/>
          <p:cNvSpPr/>
          <p:nvPr/>
        </p:nvSpPr>
        <p:spPr>
          <a:xfrm>
            <a:off x="8040110" y="1731657"/>
            <a:ext cx="381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Cyrl-RS" b="1" u="sng" dirty="0" smtClean="0"/>
              <a:t>Претерано </a:t>
            </a:r>
            <a:r>
              <a:rPr lang="sr-Cyrl-RS" b="1" u="sng" dirty="0"/>
              <a:t>„напрезање“ људства и технике на појединим </a:t>
            </a:r>
            <a:r>
              <a:rPr lang="sr-Cyrl-RS" b="1" u="sng" dirty="0" smtClean="0"/>
              <a:t>локацијама</a:t>
            </a:r>
            <a:endParaRPr lang="sr-Cyrl-RS" b="1" u="sng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891" y="934228"/>
            <a:ext cx="4033837" cy="29256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TextBox 8"/>
          <p:cNvSpPr txBox="1"/>
          <p:nvPr/>
        </p:nvSpPr>
        <p:spPr>
          <a:xfrm>
            <a:off x="431800" y="1596723"/>
            <a:ext cx="3276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 smtClean="0"/>
              <a:t>одлагалиште „Јунковац“</a:t>
            </a:r>
          </a:p>
          <a:p>
            <a:pPr marL="285750" indent="-285750">
              <a:buFontTx/>
              <a:buChar char="-"/>
            </a:pPr>
            <a:r>
              <a:rPr lang="sr-Cyrl-RS" dirty="0"/>
              <a:t>у</a:t>
            </a:r>
            <a:r>
              <a:rPr lang="sr-Cyrl-RS" dirty="0" smtClean="0"/>
              <a:t>нутрашње одлагалиште ПК „Поље Б“</a:t>
            </a:r>
          </a:p>
          <a:p>
            <a:pPr marL="285750" indent="-285750">
              <a:buFontTx/>
              <a:buChar char="-"/>
            </a:pPr>
            <a:r>
              <a:rPr lang="sr-Cyrl-RS" dirty="0"/>
              <a:t>унутрашње одлагалиште </a:t>
            </a:r>
            <a:r>
              <a:rPr lang="sr-Cyrl-RS" dirty="0" smtClean="0"/>
              <a:t>ПК „Дрмно“</a:t>
            </a:r>
            <a:endParaRPr lang="sr-Cyrl-RS" dirty="0"/>
          </a:p>
          <a:p>
            <a:pPr marL="285750" indent="-285750">
              <a:buFontTx/>
              <a:buChar char="-"/>
            </a:pPr>
            <a:endParaRPr lang="sr-Cyrl-RS" dirty="0" smtClean="0"/>
          </a:p>
          <a:p>
            <a:pPr marL="285750" indent="-285750">
              <a:buFontTx/>
              <a:buChar char="-"/>
            </a:pPr>
            <a:r>
              <a:rPr lang="sr-Cyrl-RS" dirty="0" smtClean="0"/>
              <a:t>радна косина „Вреоци“</a:t>
            </a:r>
          </a:p>
          <a:p>
            <a:pPr marL="285750" indent="-285750">
              <a:buFontTx/>
              <a:buChar char="-"/>
            </a:pPr>
            <a:r>
              <a:rPr lang="sr-Cyrl-RS" dirty="0"/>
              <a:t>б</a:t>
            </a:r>
            <a:r>
              <a:rPr lang="sr-Cyrl-RS" dirty="0" smtClean="0"/>
              <a:t>очна косина ПК „Тамнава-Западно поље“ </a:t>
            </a:r>
          </a:p>
          <a:p>
            <a:pPr marL="285750" indent="-285750">
              <a:buFontTx/>
              <a:buChar char="-"/>
            </a:pPr>
            <a:endParaRPr lang="sr-Cyrl-RS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8306810" y="2680321"/>
            <a:ext cx="3276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/>
              <a:t>н</a:t>
            </a:r>
            <a:r>
              <a:rPr lang="sr-Cyrl-RS" dirty="0" smtClean="0"/>
              <a:t>епланирани застоји на механизацији</a:t>
            </a:r>
          </a:p>
          <a:p>
            <a:pPr marL="285750" indent="-285750">
              <a:buFontTx/>
              <a:buChar char="-"/>
            </a:pPr>
            <a:r>
              <a:rPr lang="sr-Cyrl-RS" dirty="0"/>
              <a:t>у</a:t>
            </a:r>
            <a:r>
              <a:rPr lang="sr-Cyrl-RS" dirty="0" smtClean="0"/>
              <a:t>честале повреде на раду   </a:t>
            </a:r>
          </a:p>
          <a:p>
            <a:pPr marL="285750" indent="-285750">
              <a:buFontTx/>
              <a:buChar char="-"/>
            </a:pPr>
            <a:endParaRPr lang="sr-Cyrl-RS" dirty="0" smtClean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0891" y="3520538"/>
            <a:ext cx="4029219" cy="29507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Rectangle 11"/>
          <p:cNvSpPr/>
          <p:nvPr/>
        </p:nvSpPr>
        <p:spPr>
          <a:xfrm>
            <a:off x="8535915" y="4876800"/>
            <a:ext cx="28183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Cyrl-RS" sz="2400" b="1" u="sng" dirty="0" smtClean="0">
                <a:solidFill>
                  <a:srgbClr val="FF0000"/>
                </a:solidFill>
              </a:rPr>
              <a:t>„Лош квалитет испорученог угља“</a:t>
            </a:r>
            <a:endParaRPr lang="sr-Cyrl-RS" sz="2400" b="1" u="sng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60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0" y="152400"/>
            <a:ext cx="1097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>
                <a:sym typeface="Calibri" panose="020F0502020204030204" pitchFamily="34" charset="0"/>
              </a:rPr>
              <a:t>Потенцијалне </a:t>
            </a:r>
            <a:r>
              <a:rPr lang="sr-Cyrl-RS" b="1" u="sng" dirty="0">
                <a:sym typeface="Calibri" panose="020F0502020204030204" pitchFamily="34" charset="0"/>
              </a:rPr>
              <a:t>дугорочне </a:t>
            </a:r>
            <a:r>
              <a:rPr lang="sr-Cyrl-RS" b="1" u="sng" dirty="0" smtClean="0">
                <a:sym typeface="Calibri" panose="020F0502020204030204" pitchFamily="34" charset="0"/>
              </a:rPr>
              <a:t>последице</a:t>
            </a:r>
            <a:endParaRPr lang="sr-Cyrl-RS" b="1" u="sng" dirty="0"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1391602"/>
            <a:ext cx="579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Проблем обезбеђивање потребних количина угља</a:t>
            </a:r>
          </a:p>
          <a:p>
            <a:pPr algn="ctr"/>
            <a:r>
              <a:rPr lang="sr-Cyrl-RS" dirty="0"/>
              <a:t> </a:t>
            </a:r>
            <a:r>
              <a:rPr lang="sr-Cyrl-RS" dirty="0" smtClean="0"/>
              <a:t>   ( динамика откопавања откривке 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7037" y="2595368"/>
            <a:ext cx="5943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/>
              <a:t>П</a:t>
            </a:r>
            <a:r>
              <a:rPr lang="sr-Cyrl-RS" b="1" u="sng" dirty="0" smtClean="0"/>
              <a:t>роблем обезбеђивање потребног квалитета угља</a:t>
            </a:r>
            <a:endParaRPr lang="sr-Cyrl-RS" b="1" u="sng" dirty="0"/>
          </a:p>
          <a:p>
            <a:pPr algn="ctr"/>
            <a:r>
              <a:rPr lang="sr-Cyrl-RS" dirty="0" smtClean="0"/>
              <a:t>     ( изнуђено и непланирано откопавање квалитетнијих делова лежишта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" y="4076133"/>
            <a:ext cx="5486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Проблем постизања потребног нивоа поузданости механизације</a:t>
            </a:r>
          </a:p>
          <a:p>
            <a:pPr algn="ctr"/>
            <a:r>
              <a:rPr lang="sr-Cyrl-RS" dirty="0" smtClean="0"/>
              <a:t>( делимично и неправовремено одржавање 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1419311"/>
            <a:ext cx="5334000" cy="35524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6740900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7200" y="152400"/>
            <a:ext cx="1097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Стратешке активности на сузбијању дугорочних последица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8200" y="1618404"/>
            <a:ext cx="7086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* Увођење система за оперативно управљање и контролу квалитета угља</a:t>
            </a:r>
            <a:endParaRPr lang="sr-Cyrl-RS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6254952" y="4387987"/>
            <a:ext cx="4038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* Унапређење процеса управљања производљом</a:t>
            </a:r>
            <a:endParaRPr lang="sr-Cyrl-R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477982" y="855186"/>
            <a:ext cx="41910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* Појачане инвестиционе активности</a:t>
            </a:r>
            <a:endParaRPr lang="sr-Cyrl-RS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3585254" y="2628149"/>
            <a:ext cx="556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* Унапређење процеса одржавања</a:t>
            </a:r>
            <a:endParaRPr lang="sr-Cyrl-RS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252" y="979185"/>
            <a:ext cx="3708775" cy="23736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55" y="2837975"/>
            <a:ext cx="4038600" cy="30289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TextBox 10"/>
          <p:cNvSpPr txBox="1"/>
          <p:nvPr/>
        </p:nvSpPr>
        <p:spPr>
          <a:xfrm>
            <a:off x="4458855" y="3487088"/>
            <a:ext cx="6629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* Мерење, праћење и анализа кључних параметара  учинка и смањење укупних трошкова пословања</a:t>
            </a:r>
            <a:endParaRPr lang="sr-Cyrl-RS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5486400" y="5432022"/>
            <a:ext cx="6248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* </a:t>
            </a:r>
            <a:r>
              <a:rPr lang="sr-Cyrl-RS" b="1" u="sng" dirty="0"/>
              <a:t>Унапређење енергетске ефикасности и унапређење заштите животне средине </a:t>
            </a:r>
            <a:endParaRPr lang="sr-Cyrl-RS" dirty="0"/>
          </a:p>
        </p:txBody>
      </p:sp>
    </p:spTree>
    <p:extLst>
      <p:ext uri="{BB962C8B-B14F-4D97-AF65-F5344CB8AC3E}">
        <p14:creationId xmlns:p14="http://schemas.microsoft.com/office/powerpoint/2010/main" val="36060522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609600"/>
            <a:ext cx="4267200" cy="32004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71500" y="135523"/>
            <a:ext cx="11201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Појачане инвестиционе активности на стварању услова за експлоатацију и отварање заменских капацитета</a:t>
            </a:r>
            <a:endParaRPr lang="sr-Cyrl-R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0" y="2971800"/>
            <a:ext cx="4191000" cy="3352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Rectangle 4"/>
          <p:cNvSpPr/>
          <p:nvPr/>
        </p:nvSpPr>
        <p:spPr>
          <a:xfrm>
            <a:off x="5105400" y="914400"/>
            <a:ext cx="54382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Измештање и регулација реке Колубаре и реке Пештан</a:t>
            </a:r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lang="ru-RU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(Поље Е, Поље Г)</a:t>
            </a:r>
            <a:endParaRPr lang="sr-Cyrl-RS" sz="1600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529118" y="1557754"/>
            <a:ext cx="54382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Измештање дела „Ибарске магистрале“ (Поље Г)</a:t>
            </a:r>
            <a:endParaRPr lang="ru-RU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72200" y="2159169"/>
            <a:ext cx="543824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Измештање пута „Вреоци – Барошевац“ (Поље Е)</a:t>
            </a:r>
            <a:endParaRPr lang="ru-RU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934201" y="2760584"/>
            <a:ext cx="37338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Измештање далековода</a:t>
            </a:r>
            <a:endParaRPr lang="ru-RU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467600" y="4038600"/>
            <a:ext cx="37338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Дислокација постојећих и изградња нових инфраструктурних објеката</a:t>
            </a:r>
          </a:p>
          <a:p>
            <a:pPr algn="just"/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( трафо-станца, водовода, индустријских објеката, ...)</a:t>
            </a:r>
            <a:endParaRPr lang="ru-RU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467600" y="3267908"/>
            <a:ext cx="40386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Набавка нових производних капацитета (Радљево, Поље Е и Дрмно)</a:t>
            </a:r>
            <a:endParaRPr lang="ru-RU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3891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846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590" y="3903423"/>
            <a:ext cx="5626768" cy="17526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609" y="2260486"/>
            <a:ext cx="2057400" cy="15906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1" y="1066800"/>
            <a:ext cx="2030875" cy="14811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475" y="2234756"/>
            <a:ext cx="1990725" cy="5762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4776" y="5295901"/>
            <a:ext cx="2146309" cy="120967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3799610" y="1284149"/>
            <a:ext cx="39727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Израда геолошких модела лежишта</a:t>
            </a:r>
          </a:p>
          <a:p>
            <a:pPr marL="171450" indent="-171450" algn="just">
              <a:buFontTx/>
              <a:buChar char="-"/>
            </a:pPr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Израда технолошких модела експлоатације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915557" y="2287798"/>
            <a:ext cx="39727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Оперативно планирање производње</a:t>
            </a:r>
          </a:p>
          <a:p>
            <a:pPr marL="171450" indent="-171450" algn="just">
              <a:buFontTx/>
              <a:buChar char="-"/>
            </a:pPr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Оперативно управљање производњом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303852" y="3187833"/>
            <a:ext cx="330723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Calibri" panose="020F0502020204030204" pitchFamily="34" charset="0"/>
                <a:sym typeface="Calibri" panose="020F0502020204030204" pitchFamily="34" charset="0"/>
              </a:rPr>
              <a:t>- </a:t>
            </a:r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Систем за управљање квалитетом</a:t>
            </a:r>
          </a:p>
          <a:p>
            <a:pPr algn="just"/>
            <a:r>
              <a:rPr lang="ru-RU" sz="1400" dirty="0">
                <a:latin typeface="Calibri" panose="020F0502020204030204" pitchFamily="34" charset="0"/>
                <a:sym typeface="Calibri" panose="020F0502020204030204" pitchFamily="34" charset="0"/>
              </a:rPr>
              <a:t>(депонија за хомогенизацију и опрема за континуално праћење квалитета откопаног угља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491984" y="5656024"/>
            <a:ext cx="39727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ru-RU" sz="1600" b="1" dirty="0">
                <a:latin typeface="Calibri" panose="020F0502020204030204" pitchFamily="34" charset="0"/>
                <a:sym typeface="Calibri" panose="020F0502020204030204" pitchFamily="34" charset="0"/>
              </a:rPr>
              <a:t>Боље искоришћење резерви</a:t>
            </a:r>
          </a:p>
          <a:p>
            <a:pPr marL="171450" indent="-171450" algn="just">
              <a:buFontTx/>
              <a:buChar char="-"/>
            </a:pPr>
            <a:r>
              <a:rPr lang="ru-RU" sz="1600" b="1" dirty="0">
                <a:latin typeface="Calibri" panose="020F0502020204030204" pitchFamily="34" charset="0"/>
                <a:sym typeface="Calibri" panose="020F0502020204030204" pitchFamily="34" charset="0"/>
              </a:rPr>
              <a:t>Стабилан рад ТЕ</a:t>
            </a:r>
          </a:p>
          <a:p>
            <a:pPr marL="171450" indent="-171450" algn="just">
              <a:buFontTx/>
              <a:buChar char="-"/>
            </a:pPr>
            <a:r>
              <a:rPr lang="ru-RU" sz="1600" b="1" dirty="0">
                <a:latin typeface="Calibri" panose="020F0502020204030204" pitchFamily="34" charset="0"/>
                <a:sym typeface="Calibri" panose="020F0502020204030204" pitchFamily="34" charset="0"/>
              </a:rPr>
              <a:t>Бољи финансијски резултат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651001" y="180090"/>
            <a:ext cx="807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Увођење система за оперативно управљање и контролу квалитета угља</a:t>
            </a:r>
            <a:endParaRPr lang="sr-Cyrl-RS" dirty="0" smtClean="0"/>
          </a:p>
        </p:txBody>
      </p:sp>
    </p:spTree>
    <p:extLst>
      <p:ext uri="{BB962C8B-B14F-4D97-AF65-F5344CB8AC3E}">
        <p14:creationId xmlns:p14="http://schemas.microsoft.com/office/powerpoint/2010/main" val="1599830193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812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129" y="3606244"/>
            <a:ext cx="4052063" cy="24897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31" y="1754273"/>
            <a:ext cx="3745765" cy="29602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4193" y="4378538"/>
            <a:ext cx="2209800" cy="187796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777" y="702802"/>
            <a:ext cx="3271046" cy="276781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14"/>
          <p:cNvSpPr txBox="1"/>
          <p:nvPr/>
        </p:nvSpPr>
        <p:spPr>
          <a:xfrm>
            <a:off x="7162800" y="1600200"/>
            <a:ext cx="440322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Увођење система за надзор и праћење процеса производње</a:t>
            </a:r>
          </a:p>
          <a:p>
            <a:pPr marL="285750" indent="-285750">
              <a:buFontTx/>
              <a:buChar char="-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Увођење савремених информационих система за интегрисано планирање, праћење и управљање процесима у производњи </a:t>
            </a:r>
            <a:endParaRPr lang="en-U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17475" y="4994492"/>
            <a:ext cx="3886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dirty="0">
                <a:latin typeface="Calibri" panose="020F0502020204030204" pitchFamily="34" charset="0"/>
                <a:sym typeface="Calibri" panose="020F0502020204030204" pitchFamily="34" charset="0"/>
              </a:rPr>
              <a:t>Развој интегрисаних система за аутоматско управљање и праћење процеса</a:t>
            </a:r>
            <a:endParaRPr lang="en-US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17474" y="90653"/>
            <a:ext cx="85885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Унапређење процеса управљања производљом </a:t>
            </a:r>
            <a:endParaRPr lang="sr-Cyrl-RS" dirty="0" smtClean="0"/>
          </a:p>
        </p:txBody>
      </p:sp>
    </p:spTree>
    <p:extLst>
      <p:ext uri="{BB962C8B-B14F-4D97-AF65-F5344CB8AC3E}">
        <p14:creationId xmlns:p14="http://schemas.microsoft.com/office/powerpoint/2010/main" val="118912245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941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638800" y="1271738"/>
            <a:ext cx="316215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Деградација земљишта</a:t>
            </a:r>
          </a:p>
          <a:p>
            <a:pPr marL="285750" indent="-285750" algn="just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Продукти сагоревања</a:t>
            </a: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Депоније пепела</a:t>
            </a: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Бука и вибрације</a:t>
            </a:r>
            <a:endParaRPr lang="sr-Cyrl-RS" sz="1600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Прашина ..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6277" y="3122264"/>
            <a:ext cx="5422323" cy="32227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TextBox 13"/>
          <p:cNvSpPr txBox="1"/>
          <p:nvPr/>
        </p:nvSpPr>
        <p:spPr>
          <a:xfrm>
            <a:off x="1676400" y="4290739"/>
            <a:ext cx="3505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Рекултивација терена</a:t>
            </a: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Одсумпоравање</a:t>
            </a: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Употреба пепела у грађевинарству</a:t>
            </a:r>
          </a:p>
          <a:p>
            <a:pPr marL="285750" indent="-285750" algn="just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Модернизација погона за производњу и прераду угља</a:t>
            </a:r>
          </a:p>
          <a:p>
            <a:pPr marL="285750" indent="-285750">
              <a:buFontTx/>
              <a:buChar char="-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Обарање прашине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872342"/>
            <a:ext cx="5028776" cy="329070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38200" y="221431"/>
            <a:ext cx="1028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Унапређење енергетске </a:t>
            </a:r>
            <a:r>
              <a:rPr lang="sr-Cyrl-RS" b="1" u="sng" dirty="0"/>
              <a:t>ефикасности и </a:t>
            </a:r>
            <a:r>
              <a:rPr lang="sr-Cyrl-RS" b="1" u="sng" dirty="0" smtClean="0"/>
              <a:t>унапређење </a:t>
            </a:r>
            <a:r>
              <a:rPr lang="sr-Cyrl-RS" b="1" u="sng" dirty="0"/>
              <a:t>заштите животне средине </a:t>
            </a:r>
            <a:endParaRPr lang="sr-Cyrl-RS" dirty="0" smtClean="0"/>
          </a:p>
        </p:txBody>
      </p:sp>
    </p:spTree>
    <p:extLst>
      <p:ext uri="{BB962C8B-B14F-4D97-AF65-F5344CB8AC3E}">
        <p14:creationId xmlns:p14="http://schemas.microsoft.com/office/powerpoint/2010/main" val="120965829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38200" y="221431"/>
            <a:ext cx="1028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 smtClean="0"/>
              <a:t>Основне неоспорне чињенице о огљу у Републици Србији</a:t>
            </a:r>
            <a:endParaRPr lang="sr-Cyrl-RS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2081893" y="838200"/>
            <a:ext cx="90678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1.   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Једини сигуран </a:t>
            </a: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ослонац у енергетици, као и њен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покретач</a:t>
            </a:r>
          </a:p>
          <a:p>
            <a:pPr marL="342900" indent="-342900">
              <a:buAutoNum type="arabicPeriod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2.   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Најпоузданији</a:t>
            </a: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 са аспекта сигурног снабдевања</a:t>
            </a:r>
          </a:p>
          <a:p>
            <a:pPr marL="342900" indent="-342900">
              <a:buAutoNum type="arabicPeriod" startAt="2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3.    Преко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70 % електричне енергије </a:t>
            </a: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у Републици Србији се добија из угља</a:t>
            </a:r>
          </a:p>
          <a:p>
            <a:pPr marL="342900" indent="-342900">
              <a:buAutoNum type="arabicPeriod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4.     Расположиве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резерве су довољне </a:t>
            </a: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за период од 70 – 100 година</a:t>
            </a:r>
          </a:p>
          <a:p>
            <a:pPr marL="342900" indent="-342900">
              <a:buAutoNum type="arabicPeriod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5.     Целокупна производња је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за домаће потребе</a:t>
            </a:r>
          </a:p>
          <a:p>
            <a:pPr marL="342900" indent="-342900">
              <a:buAutoNum type="arabicPeriod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buAutoNum type="arabicPeriod" startAt="6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На већини термоблокова су изграђени или се граде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најсавременији системи </a:t>
            </a:r>
          </a:p>
          <a:p>
            <a:r>
              <a:rPr lang="sr-Cyrl-RS" sz="1600" b="1" dirty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       за смањење  емисија</a:t>
            </a:r>
            <a:r>
              <a:rPr lang="sr-Cyrl-RS" sz="1600" b="1" dirty="0" smtClean="0">
                <a:latin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загађујућих материја</a:t>
            </a:r>
          </a:p>
          <a:p>
            <a:pPr marL="342900" indent="-342900">
              <a:buAutoNum type="arabicPeriod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7.     Уз адекватну рекултивацију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земљиште се враћа предходној намени</a:t>
            </a:r>
            <a:endParaRPr lang="sr-Cyrl-RS" sz="1600" dirty="0" smtClean="0">
              <a:solidFill>
                <a:srgbClr val="FF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buAutoNum type="arabicPeriod"/>
            </a:pPr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8.    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Економски прихватљив</a:t>
            </a:r>
            <a:endParaRPr lang="sr-Cyrl-RS" sz="1600" b="1" dirty="0">
              <a:solidFill>
                <a:srgbClr val="FF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buAutoNum type="arabicPeriod"/>
            </a:pPr>
            <a:endParaRPr lang="sr-Cyrl-RS" sz="1600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buAutoNum type="arabicPeriod" startAt="9"/>
            </a:pPr>
            <a:r>
              <a:rPr lang="sr-Cyrl-RS" sz="1600" dirty="0" smtClean="0">
                <a:latin typeface="Calibri" panose="020F0502020204030204" pitchFamily="34" charset="0"/>
                <a:sym typeface="Calibri" panose="020F0502020204030204" pitchFamily="34" charset="0"/>
              </a:rPr>
              <a:t>Значајан </a:t>
            </a:r>
            <a:r>
              <a:rPr lang="sr-Cyrl-RS" sz="1600" b="1" dirty="0" smtClean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чинилац у БДП-у</a:t>
            </a:r>
            <a:endParaRPr lang="sr-Cyrl-RS" sz="1600" b="1" dirty="0" smtClean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buAutoNum type="arabicPeriod" startAt="9"/>
            </a:pPr>
            <a:endParaRPr lang="sr-Cyrl-RS" sz="1600" b="1" dirty="0">
              <a:solidFill>
                <a:schemeClr val="bg2">
                  <a:lumMod val="10000"/>
                </a:schemeClr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buAutoNum type="arabicPeriod" startAt="9"/>
            </a:pPr>
            <a:r>
              <a:rPr lang="sr-Cyrl-RS" sz="1600" dirty="0">
                <a:latin typeface="Calibri" panose="020F0502020204030204" pitchFamily="34" charset="0"/>
                <a:sym typeface="Calibri" panose="020F0502020204030204" pitchFamily="34" charset="0"/>
              </a:rPr>
              <a:t>Остварује значајне </a:t>
            </a:r>
            <a:r>
              <a:rPr lang="sr-Cyrl-RS" sz="1600" b="1" dirty="0">
                <a:solidFill>
                  <a:srgbClr val="FF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социјално-економске ефекте</a:t>
            </a:r>
          </a:p>
          <a:p>
            <a:endParaRPr lang="sr-Cyrl-R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0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9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2816" y="111540"/>
            <a:ext cx="1643458" cy="1286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250109" y="152400"/>
            <a:ext cx="10258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 u="sng"/>
            </a:lvl1pPr>
          </a:lstStyle>
          <a:p>
            <a:r>
              <a:rPr lang="sr-Cyrl-RS" dirty="0"/>
              <a:t>Електропривреда Србије  - стратешке смернице - </a:t>
            </a:r>
            <a:endParaRPr lang="sr-Latn-RS" dirty="0"/>
          </a:p>
        </p:txBody>
      </p:sp>
      <p:sp>
        <p:nvSpPr>
          <p:cNvPr id="3" name="TextBox 2"/>
          <p:cNvSpPr txBox="1"/>
          <p:nvPr/>
        </p:nvSpPr>
        <p:spPr>
          <a:xfrm>
            <a:off x="3120283" y="914400"/>
            <a:ext cx="41187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i="1" u="sng" dirty="0" smtClean="0"/>
              <a:t>Енергија</a:t>
            </a:r>
            <a:r>
              <a:rPr lang="sr-Cyrl-RS" dirty="0" smtClean="0"/>
              <a:t> – осавремењавање постојећих производних капацитета и изградња нових</a:t>
            </a:r>
          </a:p>
          <a:p>
            <a:pPr algn="ctr"/>
            <a:r>
              <a:rPr lang="sr-Cyrl-RS" dirty="0" smtClean="0"/>
              <a:t>(ТЕ-КО Б3 и ТЕ Колубара Б)</a:t>
            </a:r>
            <a:endParaRPr lang="sr-Latn-RS" dirty="0"/>
          </a:p>
        </p:txBody>
      </p:sp>
      <p:sp>
        <p:nvSpPr>
          <p:cNvPr id="14" name="TextBox 13"/>
          <p:cNvSpPr txBox="1"/>
          <p:nvPr/>
        </p:nvSpPr>
        <p:spPr>
          <a:xfrm>
            <a:off x="3120283" y="2363896"/>
            <a:ext cx="40386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i="1" u="sng" dirty="0" smtClean="0"/>
              <a:t>Екологија</a:t>
            </a:r>
            <a:r>
              <a:rPr lang="sr-Cyrl-RS" dirty="0" smtClean="0"/>
              <a:t> – заштита животне средине и развој обновљивих извора енергије</a:t>
            </a:r>
          </a:p>
          <a:p>
            <a:r>
              <a:rPr lang="sr-Cyrl-RS" dirty="0" smtClean="0"/>
              <a:t>( одсумпоравање, санација депонија пепела, рекултивација, изградња ветро-паркова...) </a:t>
            </a:r>
            <a:endParaRPr lang="sr-Latn-RS" dirty="0"/>
          </a:p>
        </p:txBody>
      </p:sp>
      <p:sp>
        <p:nvSpPr>
          <p:cNvPr id="16" name="TextBox 15"/>
          <p:cNvSpPr txBox="1"/>
          <p:nvPr/>
        </p:nvSpPr>
        <p:spPr>
          <a:xfrm>
            <a:off x="3216385" y="4082796"/>
            <a:ext cx="39729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i="1" u="sng" dirty="0" smtClean="0"/>
              <a:t>Ефикасност</a:t>
            </a:r>
            <a:r>
              <a:rPr lang="sr-Cyrl-RS" dirty="0" smtClean="0"/>
              <a:t> – повећање енергетске ефикасности и боље искоришћење ресурса</a:t>
            </a:r>
            <a:endParaRPr lang="sr-Latn-RS" dirty="0"/>
          </a:p>
        </p:txBody>
      </p:sp>
      <p:sp>
        <p:nvSpPr>
          <p:cNvPr id="17" name="TextBox 16"/>
          <p:cNvSpPr txBox="1"/>
          <p:nvPr/>
        </p:nvSpPr>
        <p:spPr>
          <a:xfrm>
            <a:off x="3205687" y="5257800"/>
            <a:ext cx="39531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i="1" u="sng" dirty="0" smtClean="0"/>
              <a:t>Економичност</a:t>
            </a:r>
            <a:r>
              <a:rPr lang="sr-Cyrl-RS" dirty="0" smtClean="0"/>
              <a:t> – смањење трошкова производње и повећање рентабилности </a:t>
            </a:r>
            <a:endParaRPr lang="sr-Latn-R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8883" y="1143000"/>
            <a:ext cx="4509625" cy="306389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797" y="1533614"/>
            <a:ext cx="2806700" cy="33431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6192" y="4641896"/>
            <a:ext cx="4062798" cy="16157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90537606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9590" y="1209"/>
            <a:ext cx="11760010" cy="564509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42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4" name="Title 1"/>
          <p:cNvSpPr>
            <a:spLocks noGrp="1"/>
          </p:cNvSpPr>
          <p:nvPr>
            <p:ph type="title"/>
          </p:nvPr>
        </p:nvSpPr>
        <p:spPr>
          <a:xfrm>
            <a:off x="4991100" y="533400"/>
            <a:ext cx="6477000" cy="609600"/>
          </a:xfrm>
        </p:spPr>
        <p:txBody>
          <a:bodyPr/>
          <a:lstStyle/>
          <a:p>
            <a:pPr algn="ctr">
              <a:lnSpc>
                <a:spcPct val="115000"/>
              </a:lnSpc>
            </a:pPr>
            <a:r>
              <a:rPr lang="sr-Cyrl-RS" altLang="en-US" sz="4800" b="1" dirty="0" smtClean="0">
                <a:solidFill>
                  <a:srgbClr val="D0D9DE"/>
                </a:solidFill>
                <a:cs typeface="Times New Roman" panose="02020603050405020304" pitchFamily="18" charset="0"/>
                <a:sym typeface="Calibri" panose="020F0502020204030204" pitchFamily="34" charset="0"/>
              </a:rPr>
              <a:t>ХВAЛA НA ПAЖЊИ </a:t>
            </a:r>
            <a:endParaRPr lang="sr-Cyrl-RS" altLang="en-US" sz="4800" dirty="0" smtClean="0">
              <a:solidFill>
                <a:srgbClr val="D0D9DE"/>
              </a:solidFill>
              <a:cs typeface="Times New Roman" panose="02020603050405020304" pitchFamily="18" charset="0"/>
              <a:sym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29600" y="5730017"/>
            <a:ext cx="3581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dirty="0" smtClean="0">
                <a:solidFill>
                  <a:schemeClr val="accent3">
                    <a:lumMod val="75000"/>
                  </a:schemeClr>
                </a:solidFill>
              </a:rPr>
              <a:t>Слободан Митровић</a:t>
            </a:r>
            <a:endParaRPr lang="sr-Cyrl-RS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9590" y="5730017"/>
            <a:ext cx="54836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dirty="0" smtClean="0">
                <a:solidFill>
                  <a:srgbClr val="005395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ЈП ЕПС, Управа за техничке послове производње угља</a:t>
            </a:r>
            <a:endParaRPr lang="en-US" dirty="0">
              <a:solidFill>
                <a:srgbClr val="005395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0983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22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5"/>
          <p:cNvSpPr txBox="1">
            <a:spLocks/>
          </p:cNvSpPr>
          <p:nvPr/>
        </p:nvSpPr>
        <p:spPr bwMode="auto">
          <a:xfrm>
            <a:off x="3165823" y="152400"/>
            <a:ext cx="3575081" cy="369332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 u="sng"/>
            </a:lvl1pPr>
          </a:lstStyle>
          <a:p>
            <a:r>
              <a:rPr lang="sr-Cyrl-RS" dirty="0"/>
              <a:t>ЈП ЕПС – производни капацитети</a:t>
            </a:r>
            <a:endParaRPr lang="sr-Latn-RS" dirty="0"/>
          </a:p>
        </p:txBody>
      </p:sp>
      <p:sp>
        <p:nvSpPr>
          <p:cNvPr id="13" name="Freeform 210"/>
          <p:cNvSpPr>
            <a:spLocks/>
          </p:cNvSpPr>
          <p:nvPr/>
        </p:nvSpPr>
        <p:spPr bwMode="gray">
          <a:xfrm>
            <a:off x="6096000" y="838200"/>
            <a:ext cx="5943600" cy="5486400"/>
          </a:xfrm>
          <a:custGeom>
            <a:avLst/>
            <a:gdLst>
              <a:gd name="T0" fmla="*/ 9 w 282"/>
              <a:gd name="T1" fmla="*/ 52 h 360"/>
              <a:gd name="T2" fmla="*/ 22 w 282"/>
              <a:gd name="T3" fmla="*/ 75 h 360"/>
              <a:gd name="T4" fmla="*/ 46 w 282"/>
              <a:gd name="T5" fmla="*/ 105 h 360"/>
              <a:gd name="T6" fmla="*/ 30 w 282"/>
              <a:gd name="T7" fmla="*/ 119 h 360"/>
              <a:gd name="T8" fmla="*/ 39 w 282"/>
              <a:gd name="T9" fmla="*/ 134 h 360"/>
              <a:gd name="T10" fmla="*/ 46 w 282"/>
              <a:gd name="T11" fmla="*/ 149 h 360"/>
              <a:gd name="T12" fmla="*/ 39 w 282"/>
              <a:gd name="T13" fmla="*/ 172 h 360"/>
              <a:gd name="T14" fmla="*/ 46 w 282"/>
              <a:gd name="T15" fmla="*/ 201 h 360"/>
              <a:gd name="T16" fmla="*/ 76 w 282"/>
              <a:gd name="T17" fmla="*/ 216 h 360"/>
              <a:gd name="T18" fmla="*/ 46 w 282"/>
              <a:gd name="T19" fmla="*/ 231 h 360"/>
              <a:gd name="T20" fmla="*/ 76 w 282"/>
              <a:gd name="T21" fmla="*/ 261 h 360"/>
              <a:gd name="T22" fmla="*/ 76 w 282"/>
              <a:gd name="T23" fmla="*/ 275 h 360"/>
              <a:gd name="T24" fmla="*/ 52 w 282"/>
              <a:gd name="T25" fmla="*/ 283 h 360"/>
              <a:gd name="T26" fmla="*/ 50 w 282"/>
              <a:gd name="T27" fmla="*/ 290 h 360"/>
              <a:gd name="T28" fmla="*/ 88 w 282"/>
              <a:gd name="T29" fmla="*/ 320 h 360"/>
              <a:gd name="T30" fmla="*/ 106 w 282"/>
              <a:gd name="T31" fmla="*/ 327 h 360"/>
              <a:gd name="T32" fmla="*/ 137 w 282"/>
              <a:gd name="T33" fmla="*/ 334 h 360"/>
              <a:gd name="T34" fmla="*/ 145 w 282"/>
              <a:gd name="T35" fmla="*/ 379 h 360"/>
              <a:gd name="T36" fmla="*/ 172 w 282"/>
              <a:gd name="T37" fmla="*/ 402 h 360"/>
              <a:gd name="T38" fmla="*/ 189 w 282"/>
              <a:gd name="T39" fmla="*/ 440 h 360"/>
              <a:gd name="T40" fmla="*/ 202 w 282"/>
              <a:gd name="T41" fmla="*/ 440 h 360"/>
              <a:gd name="T42" fmla="*/ 195 w 282"/>
              <a:gd name="T43" fmla="*/ 417 h 360"/>
              <a:gd name="T44" fmla="*/ 226 w 282"/>
              <a:gd name="T45" fmla="*/ 402 h 360"/>
              <a:gd name="T46" fmla="*/ 239 w 282"/>
              <a:gd name="T47" fmla="*/ 411 h 360"/>
              <a:gd name="T48" fmla="*/ 269 w 282"/>
              <a:gd name="T49" fmla="*/ 388 h 360"/>
              <a:gd name="T50" fmla="*/ 278 w 282"/>
              <a:gd name="T51" fmla="*/ 381 h 360"/>
              <a:gd name="T52" fmla="*/ 316 w 282"/>
              <a:gd name="T53" fmla="*/ 372 h 360"/>
              <a:gd name="T54" fmla="*/ 322 w 282"/>
              <a:gd name="T55" fmla="*/ 342 h 360"/>
              <a:gd name="T56" fmla="*/ 322 w 282"/>
              <a:gd name="T57" fmla="*/ 313 h 360"/>
              <a:gd name="T58" fmla="*/ 338 w 282"/>
              <a:gd name="T59" fmla="*/ 305 h 360"/>
              <a:gd name="T60" fmla="*/ 352 w 282"/>
              <a:gd name="T61" fmla="*/ 275 h 360"/>
              <a:gd name="T62" fmla="*/ 338 w 282"/>
              <a:gd name="T63" fmla="*/ 261 h 360"/>
              <a:gd name="T64" fmla="*/ 299 w 282"/>
              <a:gd name="T65" fmla="*/ 238 h 360"/>
              <a:gd name="T66" fmla="*/ 286 w 282"/>
              <a:gd name="T67" fmla="*/ 201 h 360"/>
              <a:gd name="T68" fmla="*/ 308 w 282"/>
              <a:gd name="T69" fmla="*/ 172 h 360"/>
              <a:gd name="T70" fmla="*/ 299 w 282"/>
              <a:gd name="T71" fmla="*/ 164 h 360"/>
              <a:gd name="T72" fmla="*/ 292 w 282"/>
              <a:gd name="T73" fmla="*/ 141 h 360"/>
              <a:gd name="T74" fmla="*/ 286 w 282"/>
              <a:gd name="T75" fmla="*/ 134 h 360"/>
              <a:gd name="T76" fmla="*/ 269 w 282"/>
              <a:gd name="T77" fmla="*/ 126 h 360"/>
              <a:gd name="T78" fmla="*/ 262 w 282"/>
              <a:gd name="T79" fmla="*/ 149 h 360"/>
              <a:gd name="T80" fmla="*/ 226 w 282"/>
              <a:gd name="T81" fmla="*/ 141 h 360"/>
              <a:gd name="T82" fmla="*/ 202 w 282"/>
              <a:gd name="T83" fmla="*/ 126 h 360"/>
              <a:gd name="T84" fmla="*/ 210 w 282"/>
              <a:gd name="T85" fmla="*/ 111 h 360"/>
              <a:gd name="T86" fmla="*/ 202 w 282"/>
              <a:gd name="T87" fmla="*/ 89 h 360"/>
              <a:gd name="T88" fmla="*/ 142 w 282"/>
              <a:gd name="T89" fmla="*/ 66 h 360"/>
              <a:gd name="T90" fmla="*/ 142 w 282"/>
              <a:gd name="T91" fmla="*/ 30 h 360"/>
              <a:gd name="T92" fmla="*/ 113 w 282"/>
              <a:gd name="T93" fmla="*/ 22 h 360"/>
              <a:gd name="T94" fmla="*/ 68 w 282"/>
              <a:gd name="T95" fmla="*/ 7 h 360"/>
              <a:gd name="T96" fmla="*/ 52 w 282"/>
              <a:gd name="T97" fmla="*/ 0 h 360"/>
              <a:gd name="T98" fmla="*/ 52 w 282"/>
              <a:gd name="T99" fmla="*/ 1 h 360"/>
              <a:gd name="T100" fmla="*/ 50 w 282"/>
              <a:gd name="T101" fmla="*/ 3 h 360"/>
              <a:gd name="T102" fmla="*/ 46 w 282"/>
              <a:gd name="T103" fmla="*/ 11 h 360"/>
              <a:gd name="T104" fmla="*/ 40 w 282"/>
              <a:gd name="T105" fmla="*/ 21 h 360"/>
              <a:gd name="T106" fmla="*/ 39 w 282"/>
              <a:gd name="T107" fmla="*/ 29 h 360"/>
              <a:gd name="T108" fmla="*/ 35 w 282"/>
              <a:gd name="T109" fmla="*/ 30 h 360"/>
              <a:gd name="T110" fmla="*/ 28 w 282"/>
              <a:gd name="T111" fmla="*/ 28 h 360"/>
              <a:gd name="T112" fmla="*/ 21 w 282"/>
              <a:gd name="T113" fmla="*/ 25 h 360"/>
              <a:gd name="T114" fmla="*/ 17 w 282"/>
              <a:gd name="T115" fmla="*/ 22 h 360"/>
              <a:gd name="T116" fmla="*/ 17 w 282"/>
              <a:gd name="T117" fmla="*/ 22 h 360"/>
              <a:gd name="T118" fmla="*/ 0 w 282"/>
              <a:gd name="T119" fmla="*/ 52 h 36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82"/>
              <a:gd name="T181" fmla="*/ 0 h 360"/>
              <a:gd name="T182" fmla="*/ 282 w 282"/>
              <a:gd name="T183" fmla="*/ 360 h 36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82" h="360">
                <a:moveTo>
                  <a:pt x="0" y="42"/>
                </a:moveTo>
                <a:lnTo>
                  <a:pt x="7" y="42"/>
                </a:lnTo>
                <a:lnTo>
                  <a:pt x="7" y="53"/>
                </a:lnTo>
                <a:lnTo>
                  <a:pt x="18" y="60"/>
                </a:lnTo>
                <a:lnTo>
                  <a:pt x="18" y="77"/>
                </a:lnTo>
                <a:lnTo>
                  <a:pt x="37" y="84"/>
                </a:lnTo>
                <a:lnTo>
                  <a:pt x="31" y="90"/>
                </a:lnTo>
                <a:lnTo>
                  <a:pt x="24" y="96"/>
                </a:lnTo>
                <a:lnTo>
                  <a:pt x="24" y="101"/>
                </a:lnTo>
                <a:lnTo>
                  <a:pt x="31" y="108"/>
                </a:lnTo>
                <a:lnTo>
                  <a:pt x="37" y="114"/>
                </a:lnTo>
                <a:lnTo>
                  <a:pt x="37" y="120"/>
                </a:lnTo>
                <a:lnTo>
                  <a:pt x="37" y="126"/>
                </a:lnTo>
                <a:lnTo>
                  <a:pt x="31" y="138"/>
                </a:lnTo>
                <a:lnTo>
                  <a:pt x="31" y="162"/>
                </a:lnTo>
                <a:lnTo>
                  <a:pt x="37" y="162"/>
                </a:lnTo>
                <a:lnTo>
                  <a:pt x="42" y="167"/>
                </a:lnTo>
                <a:lnTo>
                  <a:pt x="61" y="174"/>
                </a:lnTo>
                <a:lnTo>
                  <a:pt x="61" y="186"/>
                </a:lnTo>
                <a:lnTo>
                  <a:pt x="37" y="186"/>
                </a:lnTo>
                <a:lnTo>
                  <a:pt x="37" y="192"/>
                </a:lnTo>
                <a:lnTo>
                  <a:pt x="61" y="210"/>
                </a:lnTo>
                <a:lnTo>
                  <a:pt x="66" y="222"/>
                </a:lnTo>
                <a:lnTo>
                  <a:pt x="61" y="222"/>
                </a:lnTo>
                <a:lnTo>
                  <a:pt x="48" y="216"/>
                </a:lnTo>
                <a:lnTo>
                  <a:pt x="42" y="228"/>
                </a:lnTo>
                <a:lnTo>
                  <a:pt x="31" y="228"/>
                </a:lnTo>
                <a:lnTo>
                  <a:pt x="40" y="233"/>
                </a:lnTo>
                <a:lnTo>
                  <a:pt x="50" y="237"/>
                </a:lnTo>
                <a:lnTo>
                  <a:pt x="71" y="258"/>
                </a:lnTo>
                <a:lnTo>
                  <a:pt x="80" y="255"/>
                </a:lnTo>
                <a:lnTo>
                  <a:pt x="85" y="264"/>
                </a:lnTo>
                <a:lnTo>
                  <a:pt x="92" y="258"/>
                </a:lnTo>
                <a:lnTo>
                  <a:pt x="110" y="269"/>
                </a:lnTo>
                <a:lnTo>
                  <a:pt x="109" y="294"/>
                </a:lnTo>
                <a:lnTo>
                  <a:pt x="116" y="305"/>
                </a:lnTo>
                <a:lnTo>
                  <a:pt x="127" y="312"/>
                </a:lnTo>
                <a:lnTo>
                  <a:pt x="138" y="324"/>
                </a:lnTo>
                <a:lnTo>
                  <a:pt x="151" y="348"/>
                </a:lnTo>
                <a:lnTo>
                  <a:pt x="151" y="355"/>
                </a:lnTo>
                <a:lnTo>
                  <a:pt x="151" y="360"/>
                </a:lnTo>
                <a:lnTo>
                  <a:pt x="162" y="355"/>
                </a:lnTo>
                <a:lnTo>
                  <a:pt x="157" y="342"/>
                </a:lnTo>
                <a:lnTo>
                  <a:pt x="157" y="336"/>
                </a:lnTo>
                <a:lnTo>
                  <a:pt x="168" y="331"/>
                </a:lnTo>
                <a:lnTo>
                  <a:pt x="181" y="324"/>
                </a:lnTo>
                <a:lnTo>
                  <a:pt x="186" y="331"/>
                </a:lnTo>
                <a:lnTo>
                  <a:pt x="192" y="331"/>
                </a:lnTo>
                <a:lnTo>
                  <a:pt x="199" y="318"/>
                </a:lnTo>
                <a:lnTo>
                  <a:pt x="216" y="312"/>
                </a:lnTo>
                <a:lnTo>
                  <a:pt x="223" y="312"/>
                </a:lnTo>
                <a:lnTo>
                  <a:pt x="223" y="307"/>
                </a:lnTo>
                <a:lnTo>
                  <a:pt x="240" y="307"/>
                </a:lnTo>
                <a:lnTo>
                  <a:pt x="253" y="300"/>
                </a:lnTo>
                <a:lnTo>
                  <a:pt x="264" y="294"/>
                </a:lnTo>
                <a:lnTo>
                  <a:pt x="258" y="276"/>
                </a:lnTo>
                <a:lnTo>
                  <a:pt x="253" y="258"/>
                </a:lnTo>
                <a:lnTo>
                  <a:pt x="258" y="252"/>
                </a:lnTo>
                <a:lnTo>
                  <a:pt x="264" y="252"/>
                </a:lnTo>
                <a:lnTo>
                  <a:pt x="271" y="246"/>
                </a:lnTo>
                <a:lnTo>
                  <a:pt x="277" y="234"/>
                </a:lnTo>
                <a:lnTo>
                  <a:pt x="282" y="222"/>
                </a:lnTo>
                <a:lnTo>
                  <a:pt x="277" y="222"/>
                </a:lnTo>
                <a:lnTo>
                  <a:pt x="271" y="210"/>
                </a:lnTo>
                <a:lnTo>
                  <a:pt x="258" y="204"/>
                </a:lnTo>
                <a:lnTo>
                  <a:pt x="240" y="192"/>
                </a:lnTo>
                <a:lnTo>
                  <a:pt x="234" y="174"/>
                </a:lnTo>
                <a:lnTo>
                  <a:pt x="229" y="162"/>
                </a:lnTo>
                <a:lnTo>
                  <a:pt x="240" y="156"/>
                </a:lnTo>
                <a:lnTo>
                  <a:pt x="247" y="138"/>
                </a:lnTo>
                <a:lnTo>
                  <a:pt x="247" y="132"/>
                </a:lnTo>
                <a:lnTo>
                  <a:pt x="240" y="132"/>
                </a:lnTo>
                <a:lnTo>
                  <a:pt x="229" y="126"/>
                </a:lnTo>
                <a:lnTo>
                  <a:pt x="234" y="114"/>
                </a:lnTo>
                <a:lnTo>
                  <a:pt x="247" y="108"/>
                </a:lnTo>
                <a:lnTo>
                  <a:pt x="229" y="108"/>
                </a:lnTo>
                <a:lnTo>
                  <a:pt x="223" y="101"/>
                </a:lnTo>
                <a:lnTo>
                  <a:pt x="216" y="101"/>
                </a:lnTo>
                <a:lnTo>
                  <a:pt x="216" y="108"/>
                </a:lnTo>
                <a:lnTo>
                  <a:pt x="210" y="120"/>
                </a:lnTo>
                <a:lnTo>
                  <a:pt x="199" y="114"/>
                </a:lnTo>
                <a:lnTo>
                  <a:pt x="181" y="114"/>
                </a:lnTo>
                <a:lnTo>
                  <a:pt x="175" y="101"/>
                </a:lnTo>
                <a:lnTo>
                  <a:pt x="162" y="101"/>
                </a:lnTo>
                <a:lnTo>
                  <a:pt x="157" y="96"/>
                </a:lnTo>
                <a:lnTo>
                  <a:pt x="168" y="90"/>
                </a:lnTo>
                <a:lnTo>
                  <a:pt x="157" y="84"/>
                </a:lnTo>
                <a:lnTo>
                  <a:pt x="162" y="72"/>
                </a:lnTo>
                <a:lnTo>
                  <a:pt x="138" y="60"/>
                </a:lnTo>
                <a:lnTo>
                  <a:pt x="114" y="53"/>
                </a:lnTo>
                <a:lnTo>
                  <a:pt x="120" y="42"/>
                </a:lnTo>
                <a:lnTo>
                  <a:pt x="114" y="24"/>
                </a:lnTo>
                <a:lnTo>
                  <a:pt x="103" y="24"/>
                </a:lnTo>
                <a:lnTo>
                  <a:pt x="90" y="18"/>
                </a:lnTo>
                <a:lnTo>
                  <a:pt x="72" y="0"/>
                </a:lnTo>
                <a:lnTo>
                  <a:pt x="55" y="5"/>
                </a:lnTo>
                <a:lnTo>
                  <a:pt x="42" y="0"/>
                </a:lnTo>
                <a:lnTo>
                  <a:pt x="42" y="1"/>
                </a:lnTo>
                <a:lnTo>
                  <a:pt x="41" y="2"/>
                </a:lnTo>
                <a:lnTo>
                  <a:pt x="40" y="3"/>
                </a:lnTo>
                <a:lnTo>
                  <a:pt x="39" y="5"/>
                </a:lnTo>
                <a:lnTo>
                  <a:pt x="37" y="9"/>
                </a:lnTo>
                <a:lnTo>
                  <a:pt x="34" y="13"/>
                </a:lnTo>
                <a:lnTo>
                  <a:pt x="32" y="17"/>
                </a:lnTo>
                <a:lnTo>
                  <a:pt x="31" y="21"/>
                </a:lnTo>
                <a:lnTo>
                  <a:pt x="31" y="23"/>
                </a:lnTo>
                <a:lnTo>
                  <a:pt x="31" y="24"/>
                </a:lnTo>
                <a:lnTo>
                  <a:pt x="28" y="24"/>
                </a:lnTo>
                <a:lnTo>
                  <a:pt x="25" y="23"/>
                </a:lnTo>
                <a:lnTo>
                  <a:pt x="22" y="22"/>
                </a:lnTo>
                <a:lnTo>
                  <a:pt x="19" y="21"/>
                </a:lnTo>
                <a:lnTo>
                  <a:pt x="17" y="20"/>
                </a:lnTo>
                <a:lnTo>
                  <a:pt x="15" y="19"/>
                </a:lnTo>
                <a:lnTo>
                  <a:pt x="13" y="18"/>
                </a:lnTo>
                <a:lnTo>
                  <a:pt x="0" y="36"/>
                </a:lnTo>
                <a:lnTo>
                  <a:pt x="0" y="42"/>
                </a:lnTo>
              </a:path>
            </a:pathLst>
          </a:custGeom>
          <a:ln>
            <a:solidFill>
              <a:srgbClr val="005395"/>
            </a:solidFill>
            <a:headEnd/>
            <a:tailEnd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Donut 16"/>
          <p:cNvSpPr/>
          <p:nvPr/>
        </p:nvSpPr>
        <p:spPr>
          <a:xfrm>
            <a:off x="8556668" y="2989613"/>
            <a:ext cx="228600" cy="228600"/>
          </a:xfrm>
          <a:prstGeom prst="donu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1" name="Donut 20"/>
          <p:cNvSpPr/>
          <p:nvPr/>
        </p:nvSpPr>
        <p:spPr>
          <a:xfrm>
            <a:off x="7696200" y="2552700"/>
            <a:ext cx="228600" cy="228600"/>
          </a:xfrm>
          <a:prstGeom prst="donu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2" name="Donut 21"/>
          <p:cNvSpPr/>
          <p:nvPr/>
        </p:nvSpPr>
        <p:spPr>
          <a:xfrm>
            <a:off x="9372600" y="2761013"/>
            <a:ext cx="228600" cy="228600"/>
          </a:xfrm>
          <a:prstGeom prst="donu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3" name="Donut 22"/>
          <p:cNvSpPr/>
          <p:nvPr/>
        </p:nvSpPr>
        <p:spPr>
          <a:xfrm>
            <a:off x="10487556" y="2590800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4" name="Donut 23"/>
          <p:cNvSpPr/>
          <p:nvPr/>
        </p:nvSpPr>
        <p:spPr>
          <a:xfrm>
            <a:off x="10820400" y="2758539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5" name="Donut 24"/>
          <p:cNvSpPr/>
          <p:nvPr/>
        </p:nvSpPr>
        <p:spPr>
          <a:xfrm>
            <a:off x="6705600" y="2987139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6" name="Donut 25"/>
          <p:cNvSpPr/>
          <p:nvPr/>
        </p:nvSpPr>
        <p:spPr>
          <a:xfrm>
            <a:off x="9490364" y="2543299"/>
            <a:ext cx="228600" cy="228600"/>
          </a:xfrm>
          <a:prstGeom prst="donu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7" name="Donut 26"/>
          <p:cNvSpPr/>
          <p:nvPr/>
        </p:nvSpPr>
        <p:spPr>
          <a:xfrm>
            <a:off x="8442862" y="3205348"/>
            <a:ext cx="228600" cy="228600"/>
          </a:xfrm>
          <a:prstGeom prst="donu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8" name="Donut 27"/>
          <p:cNvSpPr/>
          <p:nvPr/>
        </p:nvSpPr>
        <p:spPr>
          <a:xfrm>
            <a:off x="8305800" y="3003962"/>
            <a:ext cx="228600" cy="228600"/>
          </a:xfrm>
          <a:prstGeom prst="donu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29" name="Donut 28"/>
          <p:cNvSpPr/>
          <p:nvPr/>
        </p:nvSpPr>
        <p:spPr>
          <a:xfrm>
            <a:off x="9157856" y="2552700"/>
            <a:ext cx="228600" cy="228600"/>
          </a:xfrm>
          <a:prstGeom prst="donu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924800" y="2255489"/>
            <a:ext cx="381000" cy="182911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31" name="TextBox 30"/>
          <p:cNvSpPr txBox="1"/>
          <p:nvPr/>
        </p:nvSpPr>
        <p:spPr>
          <a:xfrm>
            <a:off x="7878628" y="1932323"/>
            <a:ext cx="1047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b="1" dirty="0" smtClean="0"/>
              <a:t>Београд</a:t>
            </a:r>
            <a:endParaRPr lang="sr-Latn-R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6934200" y="2379777"/>
            <a:ext cx="9024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НТ А и Б</a:t>
            </a:r>
            <a:endParaRPr lang="sr-Latn-RS" sz="1200" dirty="0"/>
          </a:p>
        </p:txBody>
      </p:sp>
      <p:sp>
        <p:nvSpPr>
          <p:cNvPr id="33" name="TextBox 32"/>
          <p:cNvSpPr txBox="1"/>
          <p:nvPr/>
        </p:nvSpPr>
        <p:spPr>
          <a:xfrm>
            <a:off x="8209906" y="2712614"/>
            <a:ext cx="11721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200" dirty="0" smtClean="0"/>
              <a:t>TE </a:t>
            </a:r>
            <a:r>
              <a:rPr lang="sr-Cyrl-RS" sz="1200" dirty="0" smtClean="0"/>
              <a:t>Колубара А </a:t>
            </a:r>
            <a:endParaRPr lang="sr-Latn-RS" sz="1200" dirty="0"/>
          </a:p>
        </p:txBody>
      </p:sp>
      <p:sp>
        <p:nvSpPr>
          <p:cNvPr id="34" name="TextBox 33"/>
          <p:cNvSpPr txBox="1"/>
          <p:nvPr/>
        </p:nvSpPr>
        <p:spPr>
          <a:xfrm>
            <a:off x="7309926" y="2865462"/>
            <a:ext cx="11741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200" dirty="0" smtClean="0"/>
              <a:t>TE </a:t>
            </a:r>
            <a:r>
              <a:rPr lang="sr-Cyrl-RS" sz="1200" dirty="0" smtClean="0"/>
              <a:t>Колубара Б </a:t>
            </a:r>
            <a:endParaRPr lang="sr-Latn-RS" sz="1200" dirty="0"/>
          </a:p>
        </p:txBody>
      </p:sp>
      <p:sp>
        <p:nvSpPr>
          <p:cNvPr id="35" name="TextBox 34"/>
          <p:cNvSpPr txBox="1"/>
          <p:nvPr/>
        </p:nvSpPr>
        <p:spPr>
          <a:xfrm>
            <a:off x="8611681" y="3270662"/>
            <a:ext cx="10923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РБ Колубара  </a:t>
            </a:r>
            <a:endParaRPr lang="sr-Latn-RS" sz="1200" dirty="0"/>
          </a:p>
        </p:txBody>
      </p:sp>
      <p:sp>
        <p:nvSpPr>
          <p:cNvPr id="36" name="TextBox 35"/>
          <p:cNvSpPr txBox="1"/>
          <p:nvPr/>
        </p:nvSpPr>
        <p:spPr>
          <a:xfrm>
            <a:off x="9199420" y="2961995"/>
            <a:ext cx="9430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 КО А и Б</a:t>
            </a:r>
            <a:endParaRPr lang="sr-Latn-RS" sz="1200" dirty="0"/>
          </a:p>
        </p:txBody>
      </p:sp>
      <p:sp>
        <p:nvSpPr>
          <p:cNvPr id="37" name="TextBox 36"/>
          <p:cNvSpPr txBox="1"/>
          <p:nvPr/>
        </p:nvSpPr>
        <p:spPr>
          <a:xfrm>
            <a:off x="8556668" y="2313801"/>
            <a:ext cx="77668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 КО Б3</a:t>
            </a:r>
            <a:endParaRPr lang="sr-Latn-RS" sz="1200" dirty="0"/>
          </a:p>
        </p:txBody>
      </p:sp>
      <p:sp>
        <p:nvSpPr>
          <p:cNvPr id="38" name="TextBox 37"/>
          <p:cNvSpPr txBox="1"/>
          <p:nvPr/>
        </p:nvSpPr>
        <p:spPr>
          <a:xfrm>
            <a:off x="9544477" y="2771899"/>
            <a:ext cx="10250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РБ Костолац</a:t>
            </a:r>
            <a:endParaRPr lang="sr-Latn-RS" sz="1200" dirty="0"/>
          </a:p>
        </p:txBody>
      </p:sp>
      <p:sp>
        <p:nvSpPr>
          <p:cNvPr id="39" name="TextBox 38"/>
          <p:cNvSpPr txBox="1"/>
          <p:nvPr/>
        </p:nvSpPr>
        <p:spPr>
          <a:xfrm>
            <a:off x="9950304" y="2311822"/>
            <a:ext cx="9936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Ђердап 1</a:t>
            </a:r>
            <a:endParaRPr lang="sr-Latn-RS" sz="1200" dirty="0"/>
          </a:p>
        </p:txBody>
      </p:sp>
      <p:sp>
        <p:nvSpPr>
          <p:cNvPr id="40" name="TextBox 39"/>
          <p:cNvSpPr txBox="1"/>
          <p:nvPr/>
        </p:nvSpPr>
        <p:spPr>
          <a:xfrm>
            <a:off x="10594063" y="3042649"/>
            <a:ext cx="9936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Ђердап 2</a:t>
            </a:r>
            <a:endParaRPr lang="sr-Latn-RS" sz="1200" dirty="0"/>
          </a:p>
        </p:txBody>
      </p:sp>
      <p:sp>
        <p:nvSpPr>
          <p:cNvPr id="41" name="TextBox 40"/>
          <p:cNvSpPr txBox="1"/>
          <p:nvPr/>
        </p:nvSpPr>
        <p:spPr>
          <a:xfrm>
            <a:off x="6884460" y="3063074"/>
            <a:ext cx="9541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Зворник</a:t>
            </a:r>
            <a:endParaRPr lang="sr-Latn-RS" sz="1200" dirty="0"/>
          </a:p>
        </p:txBody>
      </p:sp>
      <p:sp>
        <p:nvSpPr>
          <p:cNvPr id="42" name="Donut 41"/>
          <p:cNvSpPr/>
          <p:nvPr/>
        </p:nvSpPr>
        <p:spPr>
          <a:xfrm>
            <a:off x="7219696" y="3619500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3" name="Donut 42"/>
          <p:cNvSpPr/>
          <p:nvPr/>
        </p:nvSpPr>
        <p:spPr>
          <a:xfrm>
            <a:off x="7716540" y="4391025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4" name="Donut 43"/>
          <p:cNvSpPr/>
          <p:nvPr/>
        </p:nvSpPr>
        <p:spPr>
          <a:xfrm>
            <a:off x="7554742" y="4157972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5" name="Donut 44"/>
          <p:cNvSpPr/>
          <p:nvPr/>
        </p:nvSpPr>
        <p:spPr>
          <a:xfrm>
            <a:off x="7966099" y="4505325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6" name="Donut 45"/>
          <p:cNvSpPr/>
          <p:nvPr/>
        </p:nvSpPr>
        <p:spPr>
          <a:xfrm>
            <a:off x="8249631" y="4619625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7" name="Donut 46"/>
          <p:cNvSpPr/>
          <p:nvPr/>
        </p:nvSpPr>
        <p:spPr>
          <a:xfrm>
            <a:off x="8970820" y="3805547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8" name="Donut 47"/>
          <p:cNvSpPr/>
          <p:nvPr/>
        </p:nvSpPr>
        <p:spPr>
          <a:xfrm>
            <a:off x="9127516" y="4038600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49" name="Donut 48"/>
          <p:cNvSpPr/>
          <p:nvPr/>
        </p:nvSpPr>
        <p:spPr>
          <a:xfrm>
            <a:off x="11055945" y="4262747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0" name="Donut 49"/>
          <p:cNvSpPr/>
          <p:nvPr/>
        </p:nvSpPr>
        <p:spPr>
          <a:xfrm>
            <a:off x="10508338" y="4800600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1" name="Donut 50"/>
          <p:cNvSpPr/>
          <p:nvPr/>
        </p:nvSpPr>
        <p:spPr>
          <a:xfrm>
            <a:off x="9284032" y="5181600"/>
            <a:ext cx="228600" cy="228600"/>
          </a:xfrm>
          <a:prstGeom prst="donu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2" name="Donut 51"/>
          <p:cNvSpPr/>
          <p:nvPr/>
        </p:nvSpPr>
        <p:spPr>
          <a:xfrm>
            <a:off x="9153486" y="4986088"/>
            <a:ext cx="228600" cy="228600"/>
          </a:xfrm>
          <a:prstGeom prst="donu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3" name="Donut 52"/>
          <p:cNvSpPr/>
          <p:nvPr/>
        </p:nvSpPr>
        <p:spPr>
          <a:xfrm>
            <a:off x="9454914" y="4994702"/>
            <a:ext cx="228600" cy="228600"/>
          </a:xfrm>
          <a:prstGeom prst="donu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4" name="Donut 53"/>
          <p:cNvSpPr/>
          <p:nvPr/>
        </p:nvSpPr>
        <p:spPr>
          <a:xfrm>
            <a:off x="7075710" y="2083222"/>
            <a:ext cx="228600" cy="228600"/>
          </a:xfrm>
          <a:prstGeom prst="donu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5" name="Donut 54"/>
          <p:cNvSpPr/>
          <p:nvPr/>
        </p:nvSpPr>
        <p:spPr>
          <a:xfrm>
            <a:off x="7476998" y="1717175"/>
            <a:ext cx="228600" cy="228600"/>
          </a:xfrm>
          <a:prstGeom prst="donu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6" name="Donut 55"/>
          <p:cNvSpPr/>
          <p:nvPr/>
        </p:nvSpPr>
        <p:spPr>
          <a:xfrm>
            <a:off x="7774007" y="1145105"/>
            <a:ext cx="228600" cy="228600"/>
          </a:xfrm>
          <a:prstGeom prst="donu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945011" y="5423065"/>
            <a:ext cx="8741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РБ Косово</a:t>
            </a:r>
            <a:endParaRPr lang="sr-Latn-RS" sz="1200" dirty="0"/>
          </a:p>
        </p:txBody>
      </p:sp>
      <p:sp>
        <p:nvSpPr>
          <p:cNvPr id="58" name="TextBox 57"/>
          <p:cNvSpPr txBox="1"/>
          <p:nvPr/>
        </p:nvSpPr>
        <p:spPr>
          <a:xfrm>
            <a:off x="8334569" y="5133201"/>
            <a:ext cx="984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 Косово Б</a:t>
            </a:r>
            <a:endParaRPr lang="sr-Latn-RS" sz="1200" dirty="0"/>
          </a:p>
        </p:txBody>
      </p:sp>
      <p:sp>
        <p:nvSpPr>
          <p:cNvPr id="59" name="TextBox 58"/>
          <p:cNvSpPr txBox="1"/>
          <p:nvPr/>
        </p:nvSpPr>
        <p:spPr>
          <a:xfrm>
            <a:off x="9569214" y="5127016"/>
            <a:ext cx="9844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 Косово А</a:t>
            </a:r>
            <a:endParaRPr lang="sr-Latn-RS" sz="1200" dirty="0"/>
          </a:p>
        </p:txBody>
      </p:sp>
      <p:sp>
        <p:nvSpPr>
          <p:cNvPr id="60" name="TextBox 59"/>
          <p:cNvSpPr txBox="1"/>
          <p:nvPr/>
        </p:nvSpPr>
        <p:spPr>
          <a:xfrm>
            <a:off x="10878824" y="3985748"/>
            <a:ext cx="8114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Пирот</a:t>
            </a:r>
            <a:endParaRPr lang="sr-Latn-RS" sz="1200" dirty="0"/>
          </a:p>
        </p:txBody>
      </p:sp>
      <p:sp>
        <p:nvSpPr>
          <p:cNvPr id="61" name="TextBox 60"/>
          <p:cNvSpPr txBox="1"/>
          <p:nvPr/>
        </p:nvSpPr>
        <p:spPr>
          <a:xfrm>
            <a:off x="9985751" y="4543347"/>
            <a:ext cx="11674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Врла 1,2,3,4</a:t>
            </a:r>
            <a:endParaRPr lang="sr-Latn-RS" sz="1200" dirty="0"/>
          </a:p>
        </p:txBody>
      </p:sp>
      <p:sp>
        <p:nvSpPr>
          <p:cNvPr id="62" name="TextBox 61"/>
          <p:cNvSpPr txBox="1"/>
          <p:nvPr/>
        </p:nvSpPr>
        <p:spPr>
          <a:xfrm>
            <a:off x="9176906" y="3667047"/>
            <a:ext cx="11965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Овчар Бања</a:t>
            </a:r>
            <a:endParaRPr lang="sr-Latn-RS" sz="1200" dirty="0"/>
          </a:p>
        </p:txBody>
      </p:sp>
      <p:sp>
        <p:nvSpPr>
          <p:cNvPr id="63" name="TextBox 62"/>
          <p:cNvSpPr txBox="1"/>
          <p:nvPr/>
        </p:nvSpPr>
        <p:spPr>
          <a:xfrm>
            <a:off x="9316002" y="4009947"/>
            <a:ext cx="11342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Међувршје</a:t>
            </a:r>
            <a:endParaRPr lang="sr-Latn-RS" sz="1200" dirty="0"/>
          </a:p>
        </p:txBody>
      </p:sp>
      <p:sp>
        <p:nvSpPr>
          <p:cNvPr id="64" name="TextBox 63"/>
          <p:cNvSpPr txBox="1"/>
          <p:nvPr/>
        </p:nvSpPr>
        <p:spPr>
          <a:xfrm>
            <a:off x="7448169" y="3633245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РХЕ Б.Башта</a:t>
            </a:r>
            <a:endParaRPr lang="sr-Latn-RS" sz="1200" dirty="0"/>
          </a:p>
        </p:txBody>
      </p:sp>
      <p:sp>
        <p:nvSpPr>
          <p:cNvPr id="65" name="TextBox 64"/>
          <p:cNvSpPr txBox="1"/>
          <p:nvPr/>
        </p:nvSpPr>
        <p:spPr>
          <a:xfrm>
            <a:off x="7668283" y="3970995"/>
            <a:ext cx="8883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Потпећ</a:t>
            </a:r>
            <a:endParaRPr lang="sr-Latn-RS" sz="1200" dirty="0"/>
          </a:p>
        </p:txBody>
      </p:sp>
      <p:sp>
        <p:nvSpPr>
          <p:cNvPr id="66" name="TextBox 65"/>
          <p:cNvSpPr txBox="1"/>
          <p:nvPr/>
        </p:nvSpPr>
        <p:spPr>
          <a:xfrm>
            <a:off x="7878782" y="4157972"/>
            <a:ext cx="10336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Бистрица</a:t>
            </a:r>
            <a:endParaRPr lang="sr-Latn-RS" sz="1200" dirty="0"/>
          </a:p>
        </p:txBody>
      </p:sp>
      <p:sp>
        <p:nvSpPr>
          <p:cNvPr id="67" name="TextBox 66"/>
          <p:cNvSpPr txBox="1"/>
          <p:nvPr/>
        </p:nvSpPr>
        <p:spPr>
          <a:xfrm>
            <a:off x="8183202" y="4404848"/>
            <a:ext cx="11781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Кокин Брод</a:t>
            </a:r>
            <a:endParaRPr lang="sr-Latn-RS" sz="1200" dirty="0"/>
          </a:p>
        </p:txBody>
      </p:sp>
      <p:sp>
        <p:nvSpPr>
          <p:cNvPr id="68" name="TextBox 67"/>
          <p:cNvSpPr txBox="1"/>
          <p:nvPr/>
        </p:nvSpPr>
        <p:spPr>
          <a:xfrm>
            <a:off x="8501334" y="4571226"/>
            <a:ext cx="713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Е Увац</a:t>
            </a:r>
            <a:endParaRPr lang="sr-Latn-RS" sz="1200" dirty="0"/>
          </a:p>
        </p:txBody>
      </p:sp>
      <p:sp>
        <p:nvSpPr>
          <p:cNvPr id="69" name="TextBox 68"/>
          <p:cNvSpPr txBox="1"/>
          <p:nvPr/>
        </p:nvSpPr>
        <p:spPr>
          <a:xfrm>
            <a:off x="6544387" y="1845289"/>
            <a:ext cx="14582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ТО С Митровица</a:t>
            </a:r>
            <a:endParaRPr lang="sr-Latn-RS" sz="1200" dirty="0"/>
          </a:p>
        </p:txBody>
      </p:sp>
      <p:sp>
        <p:nvSpPr>
          <p:cNvPr id="70" name="TextBox 69"/>
          <p:cNvSpPr txBox="1"/>
          <p:nvPr/>
        </p:nvSpPr>
        <p:spPr>
          <a:xfrm>
            <a:off x="6568706" y="1446322"/>
            <a:ext cx="12039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ТО Нови Сад</a:t>
            </a:r>
            <a:endParaRPr lang="sr-Latn-RS" sz="1200" dirty="0"/>
          </a:p>
        </p:txBody>
      </p:sp>
      <p:sp>
        <p:nvSpPr>
          <p:cNvPr id="71" name="TextBox 70"/>
          <p:cNvSpPr txBox="1"/>
          <p:nvPr/>
        </p:nvSpPr>
        <p:spPr>
          <a:xfrm>
            <a:off x="6561797" y="1162490"/>
            <a:ext cx="12581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ТО Зрењанин</a:t>
            </a:r>
            <a:endParaRPr lang="sr-Latn-RS" sz="1200" dirty="0"/>
          </a:p>
        </p:txBody>
      </p:sp>
      <p:sp>
        <p:nvSpPr>
          <p:cNvPr id="72" name="Donut 71"/>
          <p:cNvSpPr/>
          <p:nvPr/>
        </p:nvSpPr>
        <p:spPr>
          <a:xfrm>
            <a:off x="6311214" y="5125450"/>
            <a:ext cx="228600" cy="228600"/>
          </a:xfrm>
          <a:prstGeom prst="donu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489064" y="5095405"/>
            <a:ext cx="18775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рмоелектрана-топлана</a:t>
            </a:r>
            <a:endParaRPr lang="sr-Latn-RS" sz="1200" dirty="0"/>
          </a:p>
        </p:txBody>
      </p:sp>
      <p:sp>
        <p:nvSpPr>
          <p:cNvPr id="74" name="Donut 73"/>
          <p:cNvSpPr/>
          <p:nvPr/>
        </p:nvSpPr>
        <p:spPr>
          <a:xfrm>
            <a:off x="6325129" y="5387606"/>
            <a:ext cx="228600" cy="228600"/>
          </a:xfrm>
          <a:prstGeom prst="donu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529818" y="5334304"/>
            <a:ext cx="12843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рмоелектрана</a:t>
            </a:r>
            <a:endParaRPr lang="sr-Latn-RS" sz="1200" dirty="0"/>
          </a:p>
        </p:txBody>
      </p:sp>
      <p:sp>
        <p:nvSpPr>
          <p:cNvPr id="76" name="Donut 75"/>
          <p:cNvSpPr/>
          <p:nvPr/>
        </p:nvSpPr>
        <p:spPr>
          <a:xfrm>
            <a:off x="6325129" y="5638068"/>
            <a:ext cx="228600" cy="228600"/>
          </a:xfrm>
          <a:prstGeom prst="donu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525144" y="5618321"/>
            <a:ext cx="2078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Термоелектрана у изградњи</a:t>
            </a:r>
            <a:endParaRPr lang="sr-Latn-RS" sz="1200" dirty="0"/>
          </a:p>
        </p:txBody>
      </p:sp>
      <p:sp>
        <p:nvSpPr>
          <p:cNvPr id="78" name="Donut 77"/>
          <p:cNvSpPr/>
          <p:nvPr/>
        </p:nvSpPr>
        <p:spPr>
          <a:xfrm>
            <a:off x="6325206" y="5890868"/>
            <a:ext cx="228600" cy="228600"/>
          </a:xfrm>
          <a:prstGeom prst="don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534149" y="5833376"/>
            <a:ext cx="13021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Хидроелектрана</a:t>
            </a:r>
            <a:endParaRPr lang="sr-Latn-RS" sz="1200" dirty="0"/>
          </a:p>
        </p:txBody>
      </p:sp>
      <p:sp>
        <p:nvSpPr>
          <p:cNvPr id="80" name="Donut 79"/>
          <p:cNvSpPr/>
          <p:nvPr/>
        </p:nvSpPr>
        <p:spPr>
          <a:xfrm>
            <a:off x="6329403" y="6172504"/>
            <a:ext cx="228600" cy="228600"/>
          </a:xfrm>
          <a:prstGeom prst="donu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558003" y="6148304"/>
            <a:ext cx="11381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1200" dirty="0" smtClean="0"/>
              <a:t>Угљени басен</a:t>
            </a:r>
            <a:endParaRPr lang="sr-Latn-RS" sz="1200" dirty="0"/>
          </a:p>
        </p:txBody>
      </p:sp>
      <p:sp>
        <p:nvSpPr>
          <p:cNvPr id="83" name="Freeform 82"/>
          <p:cNvSpPr/>
          <p:nvPr/>
        </p:nvSpPr>
        <p:spPr>
          <a:xfrm>
            <a:off x="8468139" y="4650626"/>
            <a:ext cx="1979875" cy="939206"/>
          </a:xfrm>
          <a:custGeom>
            <a:avLst/>
            <a:gdLst>
              <a:gd name="connsiteX0" fmla="*/ 0 w 1979875"/>
              <a:gd name="connsiteY0" fmla="*/ 477965 h 939206"/>
              <a:gd name="connsiteX1" fmla="*/ 349858 w 1979875"/>
              <a:gd name="connsiteY1" fmla="*/ 295085 h 939206"/>
              <a:gd name="connsiteX2" fmla="*/ 532738 w 1979875"/>
              <a:gd name="connsiteY2" fmla="*/ 239426 h 939206"/>
              <a:gd name="connsiteX3" fmla="*/ 747423 w 1979875"/>
              <a:gd name="connsiteY3" fmla="*/ 136059 h 939206"/>
              <a:gd name="connsiteX4" fmla="*/ 858741 w 1979875"/>
              <a:gd name="connsiteY4" fmla="*/ 56546 h 939206"/>
              <a:gd name="connsiteX5" fmla="*/ 938254 w 1979875"/>
              <a:gd name="connsiteY5" fmla="*/ 8838 h 939206"/>
              <a:gd name="connsiteX6" fmla="*/ 985962 w 1979875"/>
              <a:gd name="connsiteY6" fmla="*/ 8838 h 939206"/>
              <a:gd name="connsiteX7" fmla="*/ 1041621 w 1979875"/>
              <a:gd name="connsiteY7" fmla="*/ 887 h 939206"/>
              <a:gd name="connsiteX8" fmla="*/ 1105231 w 1979875"/>
              <a:gd name="connsiteY8" fmla="*/ 32692 h 939206"/>
              <a:gd name="connsiteX9" fmla="*/ 1152939 w 1979875"/>
              <a:gd name="connsiteY9" fmla="*/ 72449 h 939206"/>
              <a:gd name="connsiteX10" fmla="*/ 1200647 w 1979875"/>
              <a:gd name="connsiteY10" fmla="*/ 120157 h 939206"/>
              <a:gd name="connsiteX11" fmla="*/ 1296063 w 1979875"/>
              <a:gd name="connsiteY11" fmla="*/ 144011 h 939206"/>
              <a:gd name="connsiteX12" fmla="*/ 1391478 w 1979875"/>
              <a:gd name="connsiteY12" fmla="*/ 144011 h 939206"/>
              <a:gd name="connsiteX13" fmla="*/ 1431235 w 1979875"/>
              <a:gd name="connsiteY13" fmla="*/ 167864 h 939206"/>
              <a:gd name="connsiteX14" fmla="*/ 1455089 w 1979875"/>
              <a:gd name="connsiteY14" fmla="*/ 191718 h 939206"/>
              <a:gd name="connsiteX15" fmla="*/ 1478943 w 1979875"/>
              <a:gd name="connsiteY15" fmla="*/ 239426 h 939206"/>
              <a:gd name="connsiteX16" fmla="*/ 1550504 w 1979875"/>
              <a:gd name="connsiteY16" fmla="*/ 295085 h 939206"/>
              <a:gd name="connsiteX17" fmla="*/ 1558456 w 1979875"/>
              <a:gd name="connsiteY17" fmla="*/ 342793 h 939206"/>
              <a:gd name="connsiteX18" fmla="*/ 1566407 w 1979875"/>
              <a:gd name="connsiteY18" fmla="*/ 382550 h 939206"/>
              <a:gd name="connsiteX19" fmla="*/ 1709531 w 1979875"/>
              <a:gd name="connsiteY19" fmla="*/ 501819 h 939206"/>
              <a:gd name="connsiteX20" fmla="*/ 1765190 w 1979875"/>
              <a:gd name="connsiteY20" fmla="*/ 517722 h 939206"/>
              <a:gd name="connsiteX21" fmla="*/ 1844703 w 1979875"/>
              <a:gd name="connsiteY21" fmla="*/ 581332 h 939206"/>
              <a:gd name="connsiteX22" fmla="*/ 1844703 w 1979875"/>
              <a:gd name="connsiteY22" fmla="*/ 644943 h 939206"/>
              <a:gd name="connsiteX23" fmla="*/ 1860605 w 1979875"/>
              <a:gd name="connsiteY23" fmla="*/ 692651 h 939206"/>
              <a:gd name="connsiteX24" fmla="*/ 1916264 w 1979875"/>
              <a:gd name="connsiteY24" fmla="*/ 748310 h 939206"/>
              <a:gd name="connsiteX25" fmla="*/ 1956021 w 1979875"/>
              <a:gd name="connsiteY25" fmla="*/ 788066 h 939206"/>
              <a:gd name="connsiteX26" fmla="*/ 1979875 w 1979875"/>
              <a:gd name="connsiteY26" fmla="*/ 819871 h 939206"/>
              <a:gd name="connsiteX27" fmla="*/ 1956021 w 1979875"/>
              <a:gd name="connsiteY27" fmla="*/ 883482 h 939206"/>
              <a:gd name="connsiteX28" fmla="*/ 1948070 w 1979875"/>
              <a:gd name="connsiteY28" fmla="*/ 931190 h 939206"/>
              <a:gd name="connsiteX29" fmla="*/ 1948070 w 1979875"/>
              <a:gd name="connsiteY29" fmla="*/ 939141 h 939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979875" h="939206">
                <a:moveTo>
                  <a:pt x="0" y="477965"/>
                </a:moveTo>
                <a:cubicBezTo>
                  <a:pt x="130534" y="406403"/>
                  <a:pt x="261068" y="334841"/>
                  <a:pt x="349858" y="295085"/>
                </a:cubicBezTo>
                <a:cubicBezTo>
                  <a:pt x="438648" y="255328"/>
                  <a:pt x="466477" y="265930"/>
                  <a:pt x="532738" y="239426"/>
                </a:cubicBezTo>
                <a:cubicBezTo>
                  <a:pt x="598999" y="212922"/>
                  <a:pt x="693089" y="166539"/>
                  <a:pt x="747423" y="136059"/>
                </a:cubicBezTo>
                <a:cubicBezTo>
                  <a:pt x="801757" y="105579"/>
                  <a:pt x="826936" y="77749"/>
                  <a:pt x="858741" y="56546"/>
                </a:cubicBezTo>
                <a:cubicBezTo>
                  <a:pt x="890546" y="35343"/>
                  <a:pt x="917051" y="16789"/>
                  <a:pt x="938254" y="8838"/>
                </a:cubicBezTo>
                <a:cubicBezTo>
                  <a:pt x="959457" y="887"/>
                  <a:pt x="968734" y="10163"/>
                  <a:pt x="985962" y="8838"/>
                </a:cubicBezTo>
                <a:cubicBezTo>
                  <a:pt x="1003190" y="7513"/>
                  <a:pt x="1021743" y="-3089"/>
                  <a:pt x="1041621" y="887"/>
                </a:cubicBezTo>
                <a:cubicBezTo>
                  <a:pt x="1061499" y="4863"/>
                  <a:pt x="1086678" y="20765"/>
                  <a:pt x="1105231" y="32692"/>
                </a:cubicBezTo>
                <a:cubicBezTo>
                  <a:pt x="1123784" y="44619"/>
                  <a:pt x="1137036" y="57872"/>
                  <a:pt x="1152939" y="72449"/>
                </a:cubicBezTo>
                <a:cubicBezTo>
                  <a:pt x="1168842" y="87026"/>
                  <a:pt x="1176793" y="108230"/>
                  <a:pt x="1200647" y="120157"/>
                </a:cubicBezTo>
                <a:cubicBezTo>
                  <a:pt x="1224501" y="132084"/>
                  <a:pt x="1264258" y="140035"/>
                  <a:pt x="1296063" y="144011"/>
                </a:cubicBezTo>
                <a:cubicBezTo>
                  <a:pt x="1327868" y="147987"/>
                  <a:pt x="1368949" y="140035"/>
                  <a:pt x="1391478" y="144011"/>
                </a:cubicBezTo>
                <a:cubicBezTo>
                  <a:pt x="1414007" y="147986"/>
                  <a:pt x="1420633" y="159913"/>
                  <a:pt x="1431235" y="167864"/>
                </a:cubicBezTo>
                <a:cubicBezTo>
                  <a:pt x="1441837" y="175815"/>
                  <a:pt x="1447138" y="179791"/>
                  <a:pt x="1455089" y="191718"/>
                </a:cubicBezTo>
                <a:cubicBezTo>
                  <a:pt x="1463040" y="203645"/>
                  <a:pt x="1463041" y="222198"/>
                  <a:pt x="1478943" y="239426"/>
                </a:cubicBezTo>
                <a:cubicBezTo>
                  <a:pt x="1494845" y="256654"/>
                  <a:pt x="1537252" y="277857"/>
                  <a:pt x="1550504" y="295085"/>
                </a:cubicBezTo>
                <a:cubicBezTo>
                  <a:pt x="1563756" y="312313"/>
                  <a:pt x="1555806" y="328216"/>
                  <a:pt x="1558456" y="342793"/>
                </a:cubicBezTo>
                <a:cubicBezTo>
                  <a:pt x="1561106" y="357370"/>
                  <a:pt x="1541228" y="356046"/>
                  <a:pt x="1566407" y="382550"/>
                </a:cubicBezTo>
                <a:cubicBezTo>
                  <a:pt x="1591586" y="409054"/>
                  <a:pt x="1676401" y="479290"/>
                  <a:pt x="1709531" y="501819"/>
                </a:cubicBezTo>
                <a:cubicBezTo>
                  <a:pt x="1742662" y="524348"/>
                  <a:pt x="1742661" y="504470"/>
                  <a:pt x="1765190" y="517722"/>
                </a:cubicBezTo>
                <a:cubicBezTo>
                  <a:pt x="1787719" y="530974"/>
                  <a:pt x="1831451" y="560128"/>
                  <a:pt x="1844703" y="581332"/>
                </a:cubicBezTo>
                <a:cubicBezTo>
                  <a:pt x="1857955" y="602536"/>
                  <a:pt x="1842053" y="626390"/>
                  <a:pt x="1844703" y="644943"/>
                </a:cubicBezTo>
                <a:cubicBezTo>
                  <a:pt x="1847353" y="663496"/>
                  <a:pt x="1848678" y="675423"/>
                  <a:pt x="1860605" y="692651"/>
                </a:cubicBezTo>
                <a:cubicBezTo>
                  <a:pt x="1872532" y="709879"/>
                  <a:pt x="1916264" y="748310"/>
                  <a:pt x="1916264" y="748310"/>
                </a:cubicBezTo>
                <a:cubicBezTo>
                  <a:pt x="1932167" y="764212"/>
                  <a:pt x="1945419" y="776139"/>
                  <a:pt x="1956021" y="788066"/>
                </a:cubicBezTo>
                <a:cubicBezTo>
                  <a:pt x="1966623" y="799993"/>
                  <a:pt x="1979875" y="803968"/>
                  <a:pt x="1979875" y="819871"/>
                </a:cubicBezTo>
                <a:cubicBezTo>
                  <a:pt x="1979875" y="835774"/>
                  <a:pt x="1961322" y="864929"/>
                  <a:pt x="1956021" y="883482"/>
                </a:cubicBezTo>
                <a:cubicBezTo>
                  <a:pt x="1950720" y="902035"/>
                  <a:pt x="1949395" y="921913"/>
                  <a:pt x="1948070" y="931190"/>
                </a:cubicBezTo>
                <a:cubicBezTo>
                  <a:pt x="1946745" y="940467"/>
                  <a:pt x="1948070" y="939141"/>
                  <a:pt x="1948070" y="939141"/>
                </a:cubicBezTo>
              </a:path>
            </a:pathLst>
          </a:cu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84" name="Donut 83"/>
          <p:cNvSpPr/>
          <p:nvPr/>
        </p:nvSpPr>
        <p:spPr>
          <a:xfrm>
            <a:off x="9660879" y="3387142"/>
            <a:ext cx="228600" cy="228600"/>
          </a:xfrm>
          <a:prstGeom prst="donu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9863171" y="3381344"/>
            <a:ext cx="9316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200" dirty="0" smtClean="0"/>
              <a:t>TE </a:t>
            </a:r>
            <a:r>
              <a:rPr lang="sr-Cyrl-RS" sz="1200" dirty="0" smtClean="0"/>
              <a:t>Морава </a:t>
            </a:r>
            <a:endParaRPr lang="sr-Latn-RS" sz="1200" dirty="0"/>
          </a:p>
        </p:txBody>
      </p:sp>
      <p:sp>
        <p:nvSpPr>
          <p:cNvPr id="86" name="Freeform 210"/>
          <p:cNvSpPr>
            <a:spLocks/>
          </p:cNvSpPr>
          <p:nvPr/>
        </p:nvSpPr>
        <p:spPr bwMode="gray">
          <a:xfrm>
            <a:off x="6095999" y="838199"/>
            <a:ext cx="5943600" cy="5486400"/>
          </a:xfrm>
          <a:custGeom>
            <a:avLst/>
            <a:gdLst>
              <a:gd name="T0" fmla="*/ 9 w 282"/>
              <a:gd name="T1" fmla="*/ 52 h 360"/>
              <a:gd name="T2" fmla="*/ 22 w 282"/>
              <a:gd name="T3" fmla="*/ 75 h 360"/>
              <a:gd name="T4" fmla="*/ 46 w 282"/>
              <a:gd name="T5" fmla="*/ 105 h 360"/>
              <a:gd name="T6" fmla="*/ 30 w 282"/>
              <a:gd name="T7" fmla="*/ 119 h 360"/>
              <a:gd name="T8" fmla="*/ 39 w 282"/>
              <a:gd name="T9" fmla="*/ 134 h 360"/>
              <a:gd name="T10" fmla="*/ 46 w 282"/>
              <a:gd name="T11" fmla="*/ 149 h 360"/>
              <a:gd name="T12" fmla="*/ 39 w 282"/>
              <a:gd name="T13" fmla="*/ 172 h 360"/>
              <a:gd name="T14" fmla="*/ 46 w 282"/>
              <a:gd name="T15" fmla="*/ 201 h 360"/>
              <a:gd name="T16" fmla="*/ 76 w 282"/>
              <a:gd name="T17" fmla="*/ 216 h 360"/>
              <a:gd name="T18" fmla="*/ 46 w 282"/>
              <a:gd name="T19" fmla="*/ 231 h 360"/>
              <a:gd name="T20" fmla="*/ 76 w 282"/>
              <a:gd name="T21" fmla="*/ 261 h 360"/>
              <a:gd name="T22" fmla="*/ 76 w 282"/>
              <a:gd name="T23" fmla="*/ 275 h 360"/>
              <a:gd name="T24" fmla="*/ 52 w 282"/>
              <a:gd name="T25" fmla="*/ 283 h 360"/>
              <a:gd name="T26" fmla="*/ 50 w 282"/>
              <a:gd name="T27" fmla="*/ 290 h 360"/>
              <a:gd name="T28" fmla="*/ 88 w 282"/>
              <a:gd name="T29" fmla="*/ 320 h 360"/>
              <a:gd name="T30" fmla="*/ 106 w 282"/>
              <a:gd name="T31" fmla="*/ 327 h 360"/>
              <a:gd name="T32" fmla="*/ 137 w 282"/>
              <a:gd name="T33" fmla="*/ 334 h 360"/>
              <a:gd name="T34" fmla="*/ 145 w 282"/>
              <a:gd name="T35" fmla="*/ 379 h 360"/>
              <a:gd name="T36" fmla="*/ 172 w 282"/>
              <a:gd name="T37" fmla="*/ 402 h 360"/>
              <a:gd name="T38" fmla="*/ 189 w 282"/>
              <a:gd name="T39" fmla="*/ 440 h 360"/>
              <a:gd name="T40" fmla="*/ 202 w 282"/>
              <a:gd name="T41" fmla="*/ 440 h 360"/>
              <a:gd name="T42" fmla="*/ 195 w 282"/>
              <a:gd name="T43" fmla="*/ 417 h 360"/>
              <a:gd name="T44" fmla="*/ 226 w 282"/>
              <a:gd name="T45" fmla="*/ 402 h 360"/>
              <a:gd name="T46" fmla="*/ 239 w 282"/>
              <a:gd name="T47" fmla="*/ 411 h 360"/>
              <a:gd name="T48" fmla="*/ 269 w 282"/>
              <a:gd name="T49" fmla="*/ 388 h 360"/>
              <a:gd name="T50" fmla="*/ 278 w 282"/>
              <a:gd name="T51" fmla="*/ 381 h 360"/>
              <a:gd name="T52" fmla="*/ 316 w 282"/>
              <a:gd name="T53" fmla="*/ 372 h 360"/>
              <a:gd name="T54" fmla="*/ 322 w 282"/>
              <a:gd name="T55" fmla="*/ 342 h 360"/>
              <a:gd name="T56" fmla="*/ 322 w 282"/>
              <a:gd name="T57" fmla="*/ 313 h 360"/>
              <a:gd name="T58" fmla="*/ 338 w 282"/>
              <a:gd name="T59" fmla="*/ 305 h 360"/>
              <a:gd name="T60" fmla="*/ 352 w 282"/>
              <a:gd name="T61" fmla="*/ 275 h 360"/>
              <a:gd name="T62" fmla="*/ 338 w 282"/>
              <a:gd name="T63" fmla="*/ 261 h 360"/>
              <a:gd name="T64" fmla="*/ 299 w 282"/>
              <a:gd name="T65" fmla="*/ 238 h 360"/>
              <a:gd name="T66" fmla="*/ 286 w 282"/>
              <a:gd name="T67" fmla="*/ 201 h 360"/>
              <a:gd name="T68" fmla="*/ 308 w 282"/>
              <a:gd name="T69" fmla="*/ 172 h 360"/>
              <a:gd name="T70" fmla="*/ 299 w 282"/>
              <a:gd name="T71" fmla="*/ 164 h 360"/>
              <a:gd name="T72" fmla="*/ 292 w 282"/>
              <a:gd name="T73" fmla="*/ 141 h 360"/>
              <a:gd name="T74" fmla="*/ 286 w 282"/>
              <a:gd name="T75" fmla="*/ 134 h 360"/>
              <a:gd name="T76" fmla="*/ 269 w 282"/>
              <a:gd name="T77" fmla="*/ 126 h 360"/>
              <a:gd name="T78" fmla="*/ 262 w 282"/>
              <a:gd name="T79" fmla="*/ 149 h 360"/>
              <a:gd name="T80" fmla="*/ 226 w 282"/>
              <a:gd name="T81" fmla="*/ 141 h 360"/>
              <a:gd name="T82" fmla="*/ 202 w 282"/>
              <a:gd name="T83" fmla="*/ 126 h 360"/>
              <a:gd name="T84" fmla="*/ 210 w 282"/>
              <a:gd name="T85" fmla="*/ 111 h 360"/>
              <a:gd name="T86" fmla="*/ 202 w 282"/>
              <a:gd name="T87" fmla="*/ 89 h 360"/>
              <a:gd name="T88" fmla="*/ 142 w 282"/>
              <a:gd name="T89" fmla="*/ 66 h 360"/>
              <a:gd name="T90" fmla="*/ 142 w 282"/>
              <a:gd name="T91" fmla="*/ 30 h 360"/>
              <a:gd name="T92" fmla="*/ 113 w 282"/>
              <a:gd name="T93" fmla="*/ 22 h 360"/>
              <a:gd name="T94" fmla="*/ 68 w 282"/>
              <a:gd name="T95" fmla="*/ 7 h 360"/>
              <a:gd name="T96" fmla="*/ 52 w 282"/>
              <a:gd name="T97" fmla="*/ 0 h 360"/>
              <a:gd name="T98" fmla="*/ 52 w 282"/>
              <a:gd name="T99" fmla="*/ 1 h 360"/>
              <a:gd name="T100" fmla="*/ 50 w 282"/>
              <a:gd name="T101" fmla="*/ 3 h 360"/>
              <a:gd name="T102" fmla="*/ 46 w 282"/>
              <a:gd name="T103" fmla="*/ 11 h 360"/>
              <a:gd name="T104" fmla="*/ 40 w 282"/>
              <a:gd name="T105" fmla="*/ 21 h 360"/>
              <a:gd name="T106" fmla="*/ 39 w 282"/>
              <a:gd name="T107" fmla="*/ 29 h 360"/>
              <a:gd name="T108" fmla="*/ 35 w 282"/>
              <a:gd name="T109" fmla="*/ 30 h 360"/>
              <a:gd name="T110" fmla="*/ 28 w 282"/>
              <a:gd name="T111" fmla="*/ 28 h 360"/>
              <a:gd name="T112" fmla="*/ 21 w 282"/>
              <a:gd name="T113" fmla="*/ 25 h 360"/>
              <a:gd name="T114" fmla="*/ 17 w 282"/>
              <a:gd name="T115" fmla="*/ 22 h 360"/>
              <a:gd name="T116" fmla="*/ 17 w 282"/>
              <a:gd name="T117" fmla="*/ 22 h 360"/>
              <a:gd name="T118" fmla="*/ 0 w 282"/>
              <a:gd name="T119" fmla="*/ 52 h 36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82"/>
              <a:gd name="T181" fmla="*/ 0 h 360"/>
              <a:gd name="T182" fmla="*/ 282 w 282"/>
              <a:gd name="T183" fmla="*/ 360 h 36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82" h="360">
                <a:moveTo>
                  <a:pt x="0" y="42"/>
                </a:moveTo>
                <a:lnTo>
                  <a:pt x="7" y="42"/>
                </a:lnTo>
                <a:lnTo>
                  <a:pt x="7" y="53"/>
                </a:lnTo>
                <a:lnTo>
                  <a:pt x="18" y="60"/>
                </a:lnTo>
                <a:lnTo>
                  <a:pt x="18" y="77"/>
                </a:lnTo>
                <a:lnTo>
                  <a:pt x="37" y="84"/>
                </a:lnTo>
                <a:lnTo>
                  <a:pt x="31" y="90"/>
                </a:lnTo>
                <a:lnTo>
                  <a:pt x="24" y="96"/>
                </a:lnTo>
                <a:lnTo>
                  <a:pt x="24" y="101"/>
                </a:lnTo>
                <a:lnTo>
                  <a:pt x="31" y="108"/>
                </a:lnTo>
                <a:lnTo>
                  <a:pt x="37" y="114"/>
                </a:lnTo>
                <a:lnTo>
                  <a:pt x="37" y="120"/>
                </a:lnTo>
                <a:lnTo>
                  <a:pt x="37" y="126"/>
                </a:lnTo>
                <a:lnTo>
                  <a:pt x="31" y="138"/>
                </a:lnTo>
                <a:lnTo>
                  <a:pt x="31" y="162"/>
                </a:lnTo>
                <a:lnTo>
                  <a:pt x="37" y="162"/>
                </a:lnTo>
                <a:lnTo>
                  <a:pt x="42" y="167"/>
                </a:lnTo>
                <a:lnTo>
                  <a:pt x="61" y="174"/>
                </a:lnTo>
                <a:lnTo>
                  <a:pt x="61" y="186"/>
                </a:lnTo>
                <a:lnTo>
                  <a:pt x="37" y="186"/>
                </a:lnTo>
                <a:lnTo>
                  <a:pt x="37" y="192"/>
                </a:lnTo>
                <a:lnTo>
                  <a:pt x="61" y="210"/>
                </a:lnTo>
                <a:lnTo>
                  <a:pt x="66" y="222"/>
                </a:lnTo>
                <a:lnTo>
                  <a:pt x="61" y="222"/>
                </a:lnTo>
                <a:lnTo>
                  <a:pt x="48" y="216"/>
                </a:lnTo>
                <a:lnTo>
                  <a:pt x="42" y="228"/>
                </a:lnTo>
                <a:lnTo>
                  <a:pt x="31" y="228"/>
                </a:lnTo>
                <a:lnTo>
                  <a:pt x="40" y="233"/>
                </a:lnTo>
                <a:lnTo>
                  <a:pt x="50" y="237"/>
                </a:lnTo>
                <a:lnTo>
                  <a:pt x="71" y="258"/>
                </a:lnTo>
                <a:lnTo>
                  <a:pt x="80" y="255"/>
                </a:lnTo>
                <a:lnTo>
                  <a:pt x="85" y="264"/>
                </a:lnTo>
                <a:lnTo>
                  <a:pt x="92" y="258"/>
                </a:lnTo>
                <a:lnTo>
                  <a:pt x="110" y="269"/>
                </a:lnTo>
                <a:lnTo>
                  <a:pt x="109" y="294"/>
                </a:lnTo>
                <a:lnTo>
                  <a:pt x="116" y="305"/>
                </a:lnTo>
                <a:lnTo>
                  <a:pt x="127" y="312"/>
                </a:lnTo>
                <a:lnTo>
                  <a:pt x="138" y="324"/>
                </a:lnTo>
                <a:lnTo>
                  <a:pt x="151" y="348"/>
                </a:lnTo>
                <a:lnTo>
                  <a:pt x="151" y="355"/>
                </a:lnTo>
                <a:lnTo>
                  <a:pt x="151" y="360"/>
                </a:lnTo>
                <a:lnTo>
                  <a:pt x="162" y="355"/>
                </a:lnTo>
                <a:lnTo>
                  <a:pt x="157" y="342"/>
                </a:lnTo>
                <a:lnTo>
                  <a:pt x="157" y="336"/>
                </a:lnTo>
                <a:lnTo>
                  <a:pt x="168" y="331"/>
                </a:lnTo>
                <a:lnTo>
                  <a:pt x="181" y="324"/>
                </a:lnTo>
                <a:lnTo>
                  <a:pt x="186" y="331"/>
                </a:lnTo>
                <a:lnTo>
                  <a:pt x="192" y="331"/>
                </a:lnTo>
                <a:lnTo>
                  <a:pt x="199" y="318"/>
                </a:lnTo>
                <a:lnTo>
                  <a:pt x="216" y="312"/>
                </a:lnTo>
                <a:lnTo>
                  <a:pt x="223" y="312"/>
                </a:lnTo>
                <a:lnTo>
                  <a:pt x="223" y="307"/>
                </a:lnTo>
                <a:lnTo>
                  <a:pt x="240" y="307"/>
                </a:lnTo>
                <a:lnTo>
                  <a:pt x="253" y="300"/>
                </a:lnTo>
                <a:lnTo>
                  <a:pt x="264" y="294"/>
                </a:lnTo>
                <a:lnTo>
                  <a:pt x="258" y="276"/>
                </a:lnTo>
                <a:lnTo>
                  <a:pt x="253" y="258"/>
                </a:lnTo>
                <a:lnTo>
                  <a:pt x="258" y="252"/>
                </a:lnTo>
                <a:lnTo>
                  <a:pt x="264" y="252"/>
                </a:lnTo>
                <a:lnTo>
                  <a:pt x="271" y="246"/>
                </a:lnTo>
                <a:lnTo>
                  <a:pt x="277" y="234"/>
                </a:lnTo>
                <a:lnTo>
                  <a:pt x="282" y="222"/>
                </a:lnTo>
                <a:lnTo>
                  <a:pt x="277" y="222"/>
                </a:lnTo>
                <a:lnTo>
                  <a:pt x="271" y="210"/>
                </a:lnTo>
                <a:lnTo>
                  <a:pt x="258" y="204"/>
                </a:lnTo>
                <a:lnTo>
                  <a:pt x="240" y="192"/>
                </a:lnTo>
                <a:lnTo>
                  <a:pt x="234" y="174"/>
                </a:lnTo>
                <a:lnTo>
                  <a:pt x="229" y="162"/>
                </a:lnTo>
                <a:lnTo>
                  <a:pt x="240" y="156"/>
                </a:lnTo>
                <a:lnTo>
                  <a:pt x="247" y="138"/>
                </a:lnTo>
                <a:lnTo>
                  <a:pt x="247" y="132"/>
                </a:lnTo>
                <a:lnTo>
                  <a:pt x="240" y="132"/>
                </a:lnTo>
                <a:lnTo>
                  <a:pt x="229" y="126"/>
                </a:lnTo>
                <a:lnTo>
                  <a:pt x="234" y="114"/>
                </a:lnTo>
                <a:lnTo>
                  <a:pt x="247" y="108"/>
                </a:lnTo>
                <a:lnTo>
                  <a:pt x="229" y="108"/>
                </a:lnTo>
                <a:lnTo>
                  <a:pt x="223" y="101"/>
                </a:lnTo>
                <a:lnTo>
                  <a:pt x="216" y="101"/>
                </a:lnTo>
                <a:lnTo>
                  <a:pt x="216" y="108"/>
                </a:lnTo>
                <a:lnTo>
                  <a:pt x="210" y="120"/>
                </a:lnTo>
                <a:lnTo>
                  <a:pt x="199" y="114"/>
                </a:lnTo>
                <a:lnTo>
                  <a:pt x="181" y="114"/>
                </a:lnTo>
                <a:lnTo>
                  <a:pt x="175" y="101"/>
                </a:lnTo>
                <a:lnTo>
                  <a:pt x="162" y="101"/>
                </a:lnTo>
                <a:lnTo>
                  <a:pt x="157" y="96"/>
                </a:lnTo>
                <a:lnTo>
                  <a:pt x="168" y="90"/>
                </a:lnTo>
                <a:lnTo>
                  <a:pt x="157" y="84"/>
                </a:lnTo>
                <a:lnTo>
                  <a:pt x="162" y="72"/>
                </a:lnTo>
                <a:lnTo>
                  <a:pt x="138" y="60"/>
                </a:lnTo>
                <a:lnTo>
                  <a:pt x="114" y="53"/>
                </a:lnTo>
                <a:lnTo>
                  <a:pt x="120" y="42"/>
                </a:lnTo>
                <a:lnTo>
                  <a:pt x="114" y="24"/>
                </a:lnTo>
                <a:lnTo>
                  <a:pt x="103" y="24"/>
                </a:lnTo>
                <a:lnTo>
                  <a:pt x="90" y="18"/>
                </a:lnTo>
                <a:lnTo>
                  <a:pt x="72" y="0"/>
                </a:lnTo>
                <a:lnTo>
                  <a:pt x="55" y="5"/>
                </a:lnTo>
                <a:lnTo>
                  <a:pt x="42" y="0"/>
                </a:lnTo>
                <a:lnTo>
                  <a:pt x="42" y="1"/>
                </a:lnTo>
                <a:lnTo>
                  <a:pt x="41" y="2"/>
                </a:lnTo>
                <a:lnTo>
                  <a:pt x="40" y="3"/>
                </a:lnTo>
                <a:lnTo>
                  <a:pt x="39" y="5"/>
                </a:lnTo>
                <a:lnTo>
                  <a:pt x="37" y="9"/>
                </a:lnTo>
                <a:lnTo>
                  <a:pt x="34" y="13"/>
                </a:lnTo>
                <a:lnTo>
                  <a:pt x="32" y="17"/>
                </a:lnTo>
                <a:lnTo>
                  <a:pt x="31" y="21"/>
                </a:lnTo>
                <a:lnTo>
                  <a:pt x="31" y="23"/>
                </a:lnTo>
                <a:lnTo>
                  <a:pt x="31" y="24"/>
                </a:lnTo>
                <a:lnTo>
                  <a:pt x="28" y="24"/>
                </a:lnTo>
                <a:lnTo>
                  <a:pt x="25" y="23"/>
                </a:lnTo>
                <a:lnTo>
                  <a:pt x="22" y="22"/>
                </a:lnTo>
                <a:lnTo>
                  <a:pt x="19" y="21"/>
                </a:lnTo>
                <a:lnTo>
                  <a:pt x="17" y="20"/>
                </a:lnTo>
                <a:lnTo>
                  <a:pt x="15" y="19"/>
                </a:lnTo>
                <a:lnTo>
                  <a:pt x="13" y="18"/>
                </a:lnTo>
                <a:lnTo>
                  <a:pt x="0" y="36"/>
                </a:lnTo>
                <a:lnTo>
                  <a:pt x="0" y="42"/>
                </a:lnTo>
              </a:path>
            </a:pathLst>
          </a:custGeom>
          <a:ln>
            <a:solidFill>
              <a:srgbClr val="005395"/>
            </a:solidFill>
            <a:headEnd/>
            <a:tailEnd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/>
          <a:lstStyle/>
          <a:p>
            <a:pPr algn="ctr"/>
            <a:endParaRPr lang="en-US" sz="14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Donut 86"/>
          <p:cNvSpPr/>
          <p:nvPr/>
        </p:nvSpPr>
        <p:spPr>
          <a:xfrm>
            <a:off x="7075709" y="2083221"/>
            <a:ext cx="228600" cy="228600"/>
          </a:xfrm>
          <a:prstGeom prst="donu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47277" y="2047411"/>
            <a:ext cx="628687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b="1" dirty="0" smtClean="0"/>
              <a:t>Инсталисана снага производних капацитета (без Косова):</a:t>
            </a:r>
          </a:p>
          <a:p>
            <a:endParaRPr lang="sr-Cyrl-RS" dirty="0"/>
          </a:p>
          <a:p>
            <a:r>
              <a:rPr lang="sr-Cyrl-RS" dirty="0" smtClean="0"/>
              <a:t>Укупна инсталисана снага 7 326 </a:t>
            </a:r>
            <a:r>
              <a:rPr lang="sr-Latn-RS" dirty="0" smtClean="0"/>
              <a:t>MW</a:t>
            </a:r>
            <a:endParaRPr lang="sr-Cyrl-RS" dirty="0" smtClean="0"/>
          </a:p>
          <a:p>
            <a:pPr marL="285750" indent="-285750">
              <a:buFontTx/>
              <a:buChar char="-"/>
            </a:pPr>
            <a:r>
              <a:rPr lang="sr-Cyrl-RS" dirty="0" smtClean="0"/>
              <a:t>22 термоблока - 4 390 </a:t>
            </a:r>
            <a:r>
              <a:rPr lang="sr-Latn-RS" dirty="0" smtClean="0"/>
              <a:t>MW</a:t>
            </a:r>
          </a:p>
          <a:p>
            <a:pPr marL="285750" indent="-285750">
              <a:buFontTx/>
              <a:buChar char="-"/>
            </a:pPr>
            <a:r>
              <a:rPr lang="sr-Latn-RS" dirty="0" smtClean="0"/>
              <a:t>49 </a:t>
            </a:r>
            <a:r>
              <a:rPr lang="sr-Cyrl-RS" dirty="0" smtClean="0"/>
              <a:t>хидроагрегата -</a:t>
            </a:r>
            <a:r>
              <a:rPr lang="sr-Latn-RS" dirty="0" smtClean="0"/>
              <a:t> 2 936 MW </a:t>
            </a:r>
            <a:r>
              <a:rPr lang="sr-Cyrl-RS" dirty="0" smtClean="0"/>
              <a:t> (1 РХЕ са 2 агрегата и 2 пумпе)</a:t>
            </a:r>
          </a:p>
          <a:p>
            <a:pPr marL="285750" indent="-285750">
              <a:buFontTx/>
              <a:buChar char="-"/>
            </a:pPr>
            <a:endParaRPr lang="sr-Cyrl-RS" dirty="0"/>
          </a:p>
          <a:p>
            <a:r>
              <a:rPr lang="sr-Cyrl-RS" dirty="0" smtClean="0"/>
              <a:t>Укупна годишња производња  ел. енергије је 36-37 </a:t>
            </a:r>
            <a:r>
              <a:rPr lang="sr-Latn-RS" dirty="0" smtClean="0"/>
              <a:t>GWh</a:t>
            </a:r>
          </a:p>
          <a:p>
            <a:r>
              <a:rPr lang="sr-Cyrl-RS" dirty="0"/>
              <a:t>Укупна </a:t>
            </a:r>
            <a:r>
              <a:rPr lang="sr-Cyrl-RS" dirty="0" smtClean="0"/>
              <a:t>годишња производња угља је 38-40 милиона </a:t>
            </a:r>
            <a:r>
              <a:rPr lang="sr-Latn-RS" dirty="0" smtClean="0"/>
              <a:t>t</a:t>
            </a:r>
            <a:endParaRPr lang="sr-Cyrl-RS" dirty="0" smtClean="0"/>
          </a:p>
        </p:txBody>
      </p:sp>
    </p:spTree>
    <p:extLst>
      <p:ext uri="{BB962C8B-B14F-4D97-AF65-F5344CB8AC3E}">
        <p14:creationId xmlns:p14="http://schemas.microsoft.com/office/powerpoint/2010/main" val="415195732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560614"/>
            <a:ext cx="8534400" cy="5791200"/>
          </a:xfrm>
          <a:prstGeom prst="rect">
            <a:avLst/>
          </a:prstGeom>
        </p:spPr>
      </p:pic>
      <p:sp>
        <p:nvSpPr>
          <p:cNvPr id="6" name="Title 5"/>
          <p:cNvSpPr txBox="1">
            <a:spLocks/>
          </p:cNvSpPr>
          <p:nvPr/>
        </p:nvSpPr>
        <p:spPr bwMode="auto">
          <a:xfrm>
            <a:off x="1219200" y="76200"/>
            <a:ext cx="9525000" cy="369332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 u="sng"/>
            </a:lvl1pPr>
          </a:lstStyle>
          <a:p>
            <a:r>
              <a:rPr lang="sr-Cyrl-RS" dirty="0" smtClean="0"/>
              <a:t>Потрошња угља и лигнита у Европи ( производња и увоз)</a:t>
            </a:r>
            <a:endParaRPr lang="sr-Latn-RS" dirty="0"/>
          </a:p>
        </p:txBody>
      </p:sp>
      <p:sp>
        <p:nvSpPr>
          <p:cNvPr id="5" name="TextBox 4"/>
          <p:cNvSpPr txBox="1"/>
          <p:nvPr/>
        </p:nvSpPr>
        <p:spPr>
          <a:xfrm>
            <a:off x="266327" y="1752600"/>
            <a:ext cx="2572123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sr-Cyrl-RS" dirty="0"/>
          </a:p>
          <a:p>
            <a:r>
              <a:rPr lang="sr-Cyrl-RS" sz="1600" dirty="0" smtClean="0"/>
              <a:t>Статистика </a:t>
            </a:r>
            <a:r>
              <a:rPr lang="sr-Latn-RS" sz="1600" dirty="0" smtClean="0"/>
              <a:t>2016.</a:t>
            </a:r>
            <a:r>
              <a:rPr lang="sr-Cyrl-RS" sz="1600" dirty="0" smtClean="0"/>
              <a:t> година</a:t>
            </a:r>
          </a:p>
          <a:p>
            <a:r>
              <a:rPr lang="sr-Cyrl-RS" sz="1600" dirty="0" smtClean="0"/>
              <a:t>(призводња лигнит)</a:t>
            </a:r>
          </a:p>
          <a:p>
            <a:endParaRPr lang="sr-Cyrl-RS" dirty="0" smtClean="0"/>
          </a:p>
          <a:p>
            <a:pPr marL="342900" indent="-342900">
              <a:buAutoNum type="arabicPeriod"/>
            </a:pPr>
            <a:r>
              <a:rPr lang="sr-Cyrl-RS" dirty="0" smtClean="0"/>
              <a:t>Немачка</a:t>
            </a:r>
          </a:p>
          <a:p>
            <a:pPr marL="342900" indent="-342900">
              <a:buAutoNum type="arabicPeriod"/>
            </a:pPr>
            <a:r>
              <a:rPr lang="sr-Cyrl-RS" dirty="0" smtClean="0"/>
              <a:t>Пољска</a:t>
            </a:r>
          </a:p>
          <a:p>
            <a:pPr marL="342900" indent="-342900">
              <a:buAutoNum type="arabicPeriod"/>
            </a:pPr>
            <a:r>
              <a:rPr lang="sr-Cyrl-RS" dirty="0" smtClean="0"/>
              <a:t>Турска</a:t>
            </a:r>
          </a:p>
          <a:p>
            <a:pPr marL="342900" indent="-342900">
              <a:buAutoNum type="arabicPeriod"/>
            </a:pPr>
            <a:r>
              <a:rPr lang="sr-Cyrl-RS" dirty="0" smtClean="0"/>
              <a:t>Чешка </a:t>
            </a:r>
          </a:p>
          <a:p>
            <a:pPr marL="342900" indent="-342900">
              <a:buAutoNum type="arabicPeriod"/>
            </a:pPr>
            <a:r>
              <a:rPr lang="sr-Cyrl-RS" b="1" dirty="0" smtClean="0">
                <a:solidFill>
                  <a:srgbClr val="FF0000"/>
                </a:solidFill>
              </a:rPr>
              <a:t>Србија</a:t>
            </a:r>
          </a:p>
          <a:p>
            <a:pPr marL="342900" indent="-342900">
              <a:buAutoNum type="arabicPeriod"/>
            </a:pPr>
            <a:r>
              <a:rPr lang="sr-Cyrl-RS" dirty="0" smtClean="0"/>
              <a:t>Бугарска</a:t>
            </a:r>
          </a:p>
          <a:p>
            <a:pPr marL="342900" indent="-342900">
              <a:buAutoNum type="arabicPeriod"/>
            </a:pPr>
            <a:r>
              <a:rPr lang="sr-Cyrl-RS" dirty="0" smtClean="0"/>
              <a:t>........</a:t>
            </a:r>
          </a:p>
          <a:p>
            <a:pPr marL="342900" indent="-342900">
              <a:buAutoNum type="arabicPeriod"/>
            </a:pPr>
            <a:endParaRPr lang="sr-Cyrl-RS" dirty="0" smtClean="0"/>
          </a:p>
          <a:p>
            <a:pPr marL="342900" indent="-342900">
              <a:buAutoNum type="arabicPeriod"/>
            </a:pPr>
            <a:endParaRPr lang="sr-Cyrl-RS" dirty="0" smtClean="0"/>
          </a:p>
        </p:txBody>
      </p:sp>
    </p:spTree>
    <p:extLst>
      <p:ext uri="{BB962C8B-B14F-4D97-AF65-F5344CB8AC3E}">
        <p14:creationId xmlns:p14="http://schemas.microsoft.com/office/powerpoint/2010/main" val="40179640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0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838200" y="180725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Угаљ - стратешки ресурс</a:t>
            </a:r>
          </a:p>
        </p:txBody>
      </p:sp>
      <p:sp>
        <p:nvSpPr>
          <p:cNvPr id="8" name="Rectangle 7"/>
          <p:cNvSpPr/>
          <p:nvPr/>
        </p:nvSpPr>
        <p:spPr>
          <a:xfrm>
            <a:off x="1703685" y="804320"/>
            <a:ext cx="821302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Tx/>
              <a:buChar char="-"/>
            </a:pPr>
            <a:r>
              <a:rPr lang="ru-RU" dirty="0">
                <a:latin typeface="Calibri" panose="020F0502020204030204" pitchFamily="34" charset="0"/>
                <a:sym typeface="Calibri" panose="020F0502020204030204" pitchFamily="34" charset="0"/>
              </a:rPr>
              <a:t>Билансне резерви лигнита Републике Србије износе  око 16 милијарди тона, од чега су </a:t>
            </a:r>
            <a:r>
              <a:rPr lang="ru-RU" b="1" u="sng" dirty="0" smtClean="0">
                <a:latin typeface="Calibri" panose="020F0502020204030204" pitchFamily="34" charset="0"/>
                <a:sym typeface="Calibri" panose="020F0502020204030204" pitchFamily="34" charset="0"/>
              </a:rPr>
              <a:t>2,8 </a:t>
            </a:r>
            <a:r>
              <a:rPr lang="ru-RU" b="1" u="sng" dirty="0">
                <a:latin typeface="Calibri" panose="020F0502020204030204" pitchFamily="34" charset="0"/>
                <a:sym typeface="Calibri" panose="020F0502020204030204" pitchFamily="34" charset="0"/>
              </a:rPr>
              <a:t>милијарде тона </a:t>
            </a:r>
            <a:r>
              <a:rPr lang="ru-RU" u="sng" dirty="0">
                <a:latin typeface="Calibri" panose="020F0502020204030204" pitchFamily="34" charset="0"/>
                <a:sym typeface="Calibri" panose="020F0502020204030204" pitchFamily="34" charset="0"/>
              </a:rPr>
              <a:t>у Колубар</a:t>
            </a:r>
            <a:r>
              <a:rPr lang="sr-Cyrl-RS" u="sng" dirty="0">
                <a:latin typeface="Calibri" panose="020F0502020204030204" pitchFamily="34" charset="0"/>
                <a:sym typeface="Calibri" panose="020F0502020204030204" pitchFamily="34" charset="0"/>
              </a:rPr>
              <a:t>ском</a:t>
            </a:r>
            <a:r>
              <a:rPr lang="ru-RU" u="sng" dirty="0">
                <a:latin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lang="ru-RU" u="sng" dirty="0" smtClean="0">
                <a:latin typeface="Calibri" panose="020F0502020204030204" pitchFamily="34" charset="0"/>
                <a:sym typeface="Calibri" panose="020F0502020204030204" pitchFamily="34" charset="0"/>
              </a:rPr>
              <a:t>(1,9) и Костолачком (0,9) </a:t>
            </a:r>
            <a:r>
              <a:rPr lang="ru-RU" u="sng" dirty="0">
                <a:latin typeface="Calibri" panose="020F0502020204030204" pitchFamily="34" charset="0"/>
                <a:sym typeface="Calibri" panose="020F0502020204030204" pitchFamily="34" charset="0"/>
              </a:rPr>
              <a:t>басену</a:t>
            </a:r>
          </a:p>
          <a:p>
            <a:pPr marL="285750" indent="-285750" algn="just">
              <a:buFontTx/>
              <a:buChar char="-"/>
            </a:pPr>
            <a:endParaRPr lang="ru-RU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dirty="0">
                <a:latin typeface="Calibri" panose="020F0502020204030204" pitchFamily="34" charset="0"/>
                <a:sym typeface="Calibri" panose="020F0502020204030204" pitchFamily="34" charset="0"/>
              </a:rPr>
              <a:t>Средња вредност </a:t>
            </a:r>
            <a:r>
              <a:rPr lang="ru-RU" b="1" dirty="0">
                <a:latin typeface="Calibri" panose="020F0502020204030204" pitchFamily="34" charset="0"/>
                <a:sym typeface="Calibri" panose="020F0502020204030204" pitchFamily="34" charset="0"/>
              </a:rPr>
              <a:t>ДТЕ за колубарски угаљ је 7</a:t>
            </a:r>
            <a:r>
              <a:rPr lang="en-US" b="1" dirty="0">
                <a:latin typeface="Calibri" panose="020F0502020204030204" pitchFamily="34" charset="0"/>
                <a:sym typeface="Calibri" panose="020F0502020204030204" pitchFamily="34" charset="0"/>
              </a:rPr>
              <a:t>.</a:t>
            </a:r>
            <a:r>
              <a:rPr lang="ru-RU" b="1" dirty="0">
                <a:latin typeface="Calibri" panose="020F0502020204030204" pitchFamily="34" charset="0"/>
                <a:sym typeface="Calibri" panose="020F0502020204030204" pitchFamily="34" charset="0"/>
              </a:rPr>
              <a:t>200 </a:t>
            </a:r>
            <a:r>
              <a:rPr lang="en-US" b="1" dirty="0">
                <a:latin typeface="Calibri" panose="020F0502020204030204" pitchFamily="34" charset="0"/>
                <a:sym typeface="Calibri" panose="020F0502020204030204" pitchFamily="34" charset="0"/>
              </a:rPr>
              <a:t>kJ/kg</a:t>
            </a:r>
            <a:endParaRPr lang="sr-Cyrl-RS" b="1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sr-Cyrl-RS" dirty="0">
                <a:latin typeface="Calibri" panose="020F0502020204030204" pitchFamily="34" charset="0"/>
                <a:sym typeface="Calibri" panose="020F0502020204030204" pitchFamily="34" charset="0"/>
              </a:rPr>
              <a:t>Средња вредност </a:t>
            </a:r>
            <a:r>
              <a:rPr lang="sr-Cyrl-RS" b="1" dirty="0">
                <a:latin typeface="Calibri" panose="020F0502020204030204" pitchFamily="34" charset="0"/>
                <a:sym typeface="Calibri" panose="020F0502020204030204" pitchFamily="34" charset="0"/>
              </a:rPr>
              <a:t>ДТЕ за костолачки угаљ је 8</a:t>
            </a:r>
            <a:r>
              <a:rPr lang="en-US" b="1" dirty="0">
                <a:latin typeface="Calibri" panose="020F0502020204030204" pitchFamily="34" charset="0"/>
                <a:sym typeface="Calibri" panose="020F0502020204030204" pitchFamily="34" charset="0"/>
              </a:rPr>
              <a:t>.</a:t>
            </a:r>
            <a:r>
              <a:rPr lang="sr-Cyrl-RS" b="1" dirty="0">
                <a:latin typeface="Calibri" panose="020F0502020204030204" pitchFamily="34" charset="0"/>
                <a:sym typeface="Calibri" panose="020F0502020204030204" pitchFamily="34" charset="0"/>
              </a:rPr>
              <a:t>000 </a:t>
            </a:r>
            <a:r>
              <a:rPr lang="en-US" b="1" dirty="0">
                <a:latin typeface="Calibri" panose="020F0502020204030204" pitchFamily="34" charset="0"/>
                <a:sym typeface="Calibri" panose="020F0502020204030204" pitchFamily="34" charset="0"/>
              </a:rPr>
              <a:t>kJ/kg</a:t>
            </a:r>
            <a:endParaRPr lang="sr-Cyrl-RS" b="1" dirty="0"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buFontTx/>
              <a:buChar char="-"/>
            </a:pPr>
            <a:endParaRPr lang="ru-RU" sz="1200" dirty="0"/>
          </a:p>
        </p:txBody>
      </p:sp>
      <p:sp>
        <p:nvSpPr>
          <p:cNvPr id="9" name="Rectangle 8"/>
          <p:cNvSpPr/>
          <p:nvPr/>
        </p:nvSpPr>
        <p:spPr>
          <a:xfrm>
            <a:off x="1905000" y="4343400"/>
            <a:ext cx="9448799" cy="18158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just" eaLnBrk="1" hangingPunct="1">
              <a:spcBef>
                <a:spcPct val="20000"/>
              </a:spcBef>
              <a:buClr>
                <a:schemeClr val="accent1"/>
              </a:buClr>
              <a:defRPr/>
            </a:pP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Према подацима из Биланса геолошких резерви и ресурса минералних сировина Републике Србије:</a:t>
            </a:r>
          </a:p>
          <a:p>
            <a:pPr marL="171450" indent="-171450" algn="just" eaLnBrk="1" hangingPunct="1">
              <a:spcBef>
                <a:spcPct val="20000"/>
              </a:spcBef>
              <a:buClr>
                <a:schemeClr val="accent1"/>
              </a:buClr>
              <a:buFontTx/>
              <a:buChar char="-"/>
              <a:defRPr/>
            </a:pP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више од 76% укупних резерви угља у Србији се налази у Косовско-Метохијском басену. </a:t>
            </a:r>
          </a:p>
          <a:p>
            <a:pPr marL="171450" indent="-171450" algn="just" eaLnBrk="1" hangingPunct="1">
              <a:spcBef>
                <a:spcPct val="20000"/>
              </a:spcBef>
              <a:buClr>
                <a:schemeClr val="accent1"/>
              </a:buClr>
              <a:buFontTx/>
              <a:buChar char="-"/>
              <a:defRPr/>
            </a:pP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у Колубарском басену налази се 14% резерви угља</a:t>
            </a:r>
          </a:p>
          <a:p>
            <a:pPr marL="171450" indent="-171450" algn="just" eaLnBrk="1" hangingPunct="1">
              <a:spcBef>
                <a:spcPct val="20000"/>
              </a:spcBef>
              <a:buClr>
                <a:schemeClr val="accent1"/>
              </a:buClr>
              <a:buFontTx/>
              <a:buChar char="-"/>
              <a:defRPr/>
            </a:pPr>
            <a:r>
              <a:rPr lang="sr-Cyrl-RS" sz="1600" dirty="0" smtClean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у </a:t>
            </a:r>
            <a:r>
              <a:rPr lang="ru-RU" sz="1600" dirty="0" smtClean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Костолачком </a:t>
            </a: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3</a:t>
            </a:r>
            <a:r>
              <a:rPr lang="en-US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,</a:t>
            </a: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3% угља</a:t>
            </a:r>
          </a:p>
          <a:p>
            <a:pPr marL="171450" indent="-171450" algn="just" eaLnBrk="1" hangingPunct="1">
              <a:spcBef>
                <a:spcPct val="20000"/>
              </a:spcBef>
              <a:buClr>
                <a:schemeClr val="accent1"/>
              </a:buClr>
              <a:buFontTx/>
              <a:buChar char="-"/>
              <a:defRPr/>
            </a:pP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Сјенички и Ковински басен садрже само 2</a:t>
            </a:r>
            <a:r>
              <a:rPr lang="en-US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,</a:t>
            </a: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7% укупне количине угља.</a:t>
            </a:r>
          </a:p>
          <a:p>
            <a:pPr marL="171450" indent="-171450" algn="just" eaLnBrk="1" hangingPunct="1">
              <a:spcBef>
                <a:spcPct val="20000"/>
              </a:spcBef>
              <a:buClr>
                <a:schemeClr val="accent1"/>
              </a:buClr>
              <a:buFontTx/>
              <a:buChar char="-"/>
              <a:defRPr/>
            </a:pPr>
            <a:r>
              <a:rPr lang="ru-RU" sz="160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rPr>
              <a:t>Остатак припада осталим лежиштима са подземном експлоатацијом </a:t>
            </a:r>
            <a:endParaRPr lang="en-US" sz="1600" dirty="0">
              <a:latin typeface="Calibri" panose="020F0502020204030204" pitchFamily="34" charset="0"/>
              <a:cs typeface="+mn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8167" y="2273760"/>
            <a:ext cx="4231414" cy="21002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2362200"/>
            <a:ext cx="3200400" cy="1981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6287504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0155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>
          <a:xfrm>
            <a:off x="2612622" y="152400"/>
            <a:ext cx="685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Развој технологије откопавања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438169"/>
            <a:ext cx="3220340" cy="20538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01" y="1864764"/>
            <a:ext cx="2352675" cy="1452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3829940" y="1049616"/>
            <a:ext cx="73714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Рудник мрког угља Врдник - најстарији српски рудник угља, отворен је 1804. године. </a:t>
            </a:r>
          </a:p>
          <a:p>
            <a:pPr algn="just"/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Производња угља у јами Стари Костолац званично је отпочела 1873. године. </a:t>
            </a:r>
          </a:p>
        </p:txBody>
      </p:sp>
      <p:sp>
        <p:nvSpPr>
          <p:cNvPr id="9" name="Rectangle 8"/>
          <p:cNvSpPr/>
          <p:nvPr/>
        </p:nvSpPr>
        <p:spPr>
          <a:xfrm>
            <a:off x="5715000" y="2339823"/>
            <a:ext cx="5715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Први површински коп угља у Србији отварају Немци за време окупације 1942. године у Костолцу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101" y="3429001"/>
            <a:ext cx="3365619" cy="139880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722" y="4495800"/>
            <a:ext cx="3864278" cy="190500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5638800" y="3605180"/>
            <a:ext cx="55626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Данас је на површинским коповима примењена метода масовног откопавања применом висококапацитивне континуалне рударске опреме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438400" y="5186691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sym typeface="Calibri" panose="020F0502020204030204" pitchFamily="34" charset="0"/>
              </a:rPr>
              <a:t>Будућност је у аутоматизацији процеса рада.</a:t>
            </a:r>
          </a:p>
        </p:txBody>
      </p:sp>
    </p:spTree>
    <p:extLst>
      <p:ext uri="{BB962C8B-B14F-4D97-AF65-F5344CB8AC3E}">
        <p14:creationId xmlns:p14="http://schemas.microsoft.com/office/powerpoint/2010/main" val="363869205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51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/>
          <p:cNvSpPr/>
          <p:nvPr/>
        </p:nvSpPr>
        <p:spPr>
          <a:xfrm>
            <a:off x="2607179" y="221431"/>
            <a:ext cx="685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Угаљ - Производни капацитети</a:t>
            </a:r>
          </a:p>
        </p:txBody>
      </p:sp>
      <p:pic>
        <p:nvPicPr>
          <p:cNvPr id="18492" name="Picture 6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8" y="990600"/>
            <a:ext cx="10903787" cy="5140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550989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ded Corner 9"/>
          <p:cNvSpPr/>
          <p:nvPr/>
        </p:nvSpPr>
        <p:spPr>
          <a:xfrm>
            <a:off x="8434665" y="1992086"/>
            <a:ext cx="3450772" cy="3962400"/>
          </a:xfrm>
          <a:prstGeom prst="foldedCorne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sz="1600" dirty="0" smtClean="0"/>
              <a:t>Утицај на угаљ:</a:t>
            </a:r>
          </a:p>
          <a:p>
            <a:pPr algn="ctr"/>
            <a:endParaRPr lang="sr-Cyrl-RS" sz="1600" dirty="0" smtClean="0"/>
          </a:p>
          <a:p>
            <a:pPr algn="ctr"/>
            <a:r>
              <a:rPr lang="sr-Cyrl-RS" sz="1600" dirty="0" smtClean="0"/>
              <a:t>Нове законске регулативе у складу са „</a:t>
            </a:r>
            <a:r>
              <a:rPr lang="sr-Latn-RS" sz="1600" dirty="0" smtClean="0"/>
              <a:t>BREF</a:t>
            </a:r>
            <a:r>
              <a:rPr lang="sr-Cyrl-RS" sz="1600" dirty="0" smtClean="0"/>
              <a:t>“</a:t>
            </a:r>
          </a:p>
          <a:p>
            <a:pPr algn="ctr"/>
            <a:endParaRPr lang="sr-Cyrl-RS" sz="1600" dirty="0" smtClean="0"/>
          </a:p>
          <a:p>
            <a:pPr algn="ctr"/>
            <a:r>
              <a:rPr lang="sr-Cyrl-RS" sz="1200" b="1" dirty="0"/>
              <a:t>„</a:t>
            </a:r>
            <a:r>
              <a:rPr lang="sr-Latn-RS" sz="1200" b="1" dirty="0"/>
              <a:t>BREF</a:t>
            </a:r>
            <a:r>
              <a:rPr lang="sr-Cyrl-RS" sz="1200" b="1" dirty="0" smtClean="0"/>
              <a:t>“ </a:t>
            </a:r>
            <a:r>
              <a:rPr lang="sr-Cyrl-RS" sz="1200" dirty="0" smtClean="0"/>
              <a:t>= Референтни документ о најбољим доступним технологијама</a:t>
            </a:r>
          </a:p>
          <a:p>
            <a:pPr algn="ctr"/>
            <a:endParaRPr lang="sr-Cyrl-RS" sz="1600" dirty="0"/>
          </a:p>
          <a:p>
            <a:pPr marL="285750" indent="-285750">
              <a:buFontTx/>
              <a:buChar char="-"/>
            </a:pPr>
            <a:r>
              <a:rPr lang="sr-Cyrl-RS" sz="1600" dirty="0" smtClean="0"/>
              <a:t>На удару пооштравања критеријума емисије су „</a:t>
            </a:r>
            <a:r>
              <a:rPr lang="sr-Latn-RS" sz="1600" dirty="0" smtClean="0"/>
              <a:t>SOx, NOx i Hg“, </a:t>
            </a:r>
            <a:endParaRPr lang="sr-Cyrl-RS" sz="1600" dirty="0" smtClean="0"/>
          </a:p>
          <a:p>
            <a:pPr marL="285750" indent="-285750">
              <a:buFontTx/>
              <a:buChar char="-"/>
            </a:pPr>
            <a:r>
              <a:rPr lang="sr-Cyrl-RS" sz="1600" dirty="0" smtClean="0"/>
              <a:t>На удару могућег драстичног повећања цене је </a:t>
            </a:r>
            <a:r>
              <a:rPr lang="sr-Latn-RS" sz="1600" dirty="0" smtClean="0"/>
              <a:t>„CO</a:t>
            </a:r>
            <a:r>
              <a:rPr lang="sr-Latn-RS" sz="1000" dirty="0" smtClean="0"/>
              <a:t>2</a:t>
            </a:r>
            <a:r>
              <a:rPr lang="sr-Latn-RS" sz="1600" dirty="0" smtClean="0"/>
              <a:t>“</a:t>
            </a:r>
            <a:r>
              <a:rPr lang="sr-Cyrl-RS" sz="1600" dirty="0" smtClean="0"/>
              <a:t> (тренутна око 15 €/</a:t>
            </a:r>
            <a:r>
              <a:rPr lang="sr-Latn-RS" sz="1600" dirty="0" smtClean="0"/>
              <a:t>t)</a:t>
            </a:r>
            <a:endParaRPr lang="sr-Cyrl-RS" sz="1000" dirty="0"/>
          </a:p>
        </p:txBody>
      </p:sp>
      <p:sp>
        <p:nvSpPr>
          <p:cNvPr id="3" name="Round Single Corner Rectangle 2"/>
          <p:cNvSpPr/>
          <p:nvPr/>
        </p:nvSpPr>
        <p:spPr>
          <a:xfrm>
            <a:off x="3486150" y="1046120"/>
            <a:ext cx="5410200" cy="720771"/>
          </a:xfrm>
          <a:prstGeom prst="round1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5" name="Rectangle 4"/>
          <p:cNvSpPr/>
          <p:nvPr/>
        </p:nvSpPr>
        <p:spPr>
          <a:xfrm>
            <a:off x="609600" y="609600"/>
            <a:ext cx="11125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МЕЂУНАРОДНЕ ОБАВЕЗЕ</a:t>
            </a:r>
            <a:endParaRPr lang="sr-Latn-RS" dirty="0"/>
          </a:p>
        </p:txBody>
      </p:sp>
      <p:sp>
        <p:nvSpPr>
          <p:cNvPr id="7" name="Rectangle 6"/>
          <p:cNvSpPr/>
          <p:nvPr/>
        </p:nvSpPr>
        <p:spPr>
          <a:xfrm>
            <a:off x="1981200" y="152400"/>
            <a:ext cx="815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Правни оквир за обављање рударске делатност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663913" y="1387731"/>
            <a:ext cx="50990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b="1" i="1" dirty="0" smtClean="0"/>
              <a:t>Споразум о стабилизацији и придруживању ЕУ</a:t>
            </a:r>
            <a:endParaRPr lang="sr-Latn-RS" b="1" i="1" dirty="0"/>
          </a:p>
        </p:txBody>
      </p:sp>
      <p:sp>
        <p:nvSpPr>
          <p:cNvPr id="9" name="TextBox 8"/>
          <p:cNvSpPr txBox="1"/>
          <p:nvPr/>
        </p:nvSpPr>
        <p:spPr>
          <a:xfrm>
            <a:off x="4024034" y="1081465"/>
            <a:ext cx="44106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b="1" i="1" dirty="0" smtClean="0"/>
              <a:t>Уговор о оснивању енергетске заједнице</a:t>
            </a:r>
            <a:endParaRPr lang="sr-Latn-RS" b="1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981200"/>
            <a:ext cx="7696200" cy="39624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37030733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981200" y="152400"/>
            <a:ext cx="815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Cyrl-RS" b="1" u="sng" dirty="0">
                <a:sym typeface="Calibri" panose="020F0502020204030204" pitchFamily="34" charset="0"/>
              </a:rPr>
              <a:t>Правни оквир за обављање рударске делатности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68777" y="1172936"/>
            <a:ext cx="111252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ДОМАЋЕ ЗАКОНОДАВСТВО</a:t>
            </a:r>
            <a:endParaRPr lang="sr-Latn-RS" dirty="0"/>
          </a:p>
        </p:txBody>
      </p:sp>
      <p:sp>
        <p:nvSpPr>
          <p:cNvPr id="6" name="Round Diagonal Corner Rectangle 5"/>
          <p:cNvSpPr/>
          <p:nvPr/>
        </p:nvSpPr>
        <p:spPr>
          <a:xfrm>
            <a:off x="3561205" y="2620736"/>
            <a:ext cx="4911744" cy="685800"/>
          </a:xfrm>
          <a:prstGeom prst="round2Diag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b="1" dirty="0" smtClean="0"/>
              <a:t>Закон о енергетици</a:t>
            </a:r>
            <a:endParaRPr lang="sr-Latn-RS" b="1" dirty="0"/>
          </a:p>
        </p:txBody>
      </p:sp>
      <p:sp>
        <p:nvSpPr>
          <p:cNvPr id="8" name="Rounded Rectangle 7"/>
          <p:cNvSpPr/>
          <p:nvPr/>
        </p:nvSpPr>
        <p:spPr>
          <a:xfrm>
            <a:off x="3581833" y="3382736"/>
            <a:ext cx="4891116" cy="68580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b="1" dirty="0" smtClean="0"/>
              <a:t>Закон о рударству и геолошким истраживањима</a:t>
            </a:r>
            <a:endParaRPr lang="sr-Latn-RS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568777" y="1782536"/>
            <a:ext cx="2992428" cy="6858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пољопривредном земљишту</a:t>
            </a:r>
            <a:endParaRPr lang="sr-Latn-RS" dirty="0"/>
          </a:p>
        </p:txBody>
      </p:sp>
      <p:sp>
        <p:nvSpPr>
          <p:cNvPr id="15" name="Rounded Rectangle 14"/>
          <p:cNvSpPr/>
          <p:nvPr/>
        </p:nvSpPr>
        <p:spPr>
          <a:xfrm>
            <a:off x="552448" y="2696936"/>
            <a:ext cx="2683329" cy="6096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водама</a:t>
            </a:r>
            <a:endParaRPr lang="sr-Latn-RS" dirty="0"/>
          </a:p>
        </p:txBody>
      </p:sp>
      <p:sp>
        <p:nvSpPr>
          <p:cNvPr id="16" name="Rounded Rectangle 15"/>
          <p:cNvSpPr/>
          <p:nvPr/>
        </p:nvSpPr>
        <p:spPr>
          <a:xfrm>
            <a:off x="568777" y="3458936"/>
            <a:ext cx="2683329" cy="6096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шумама</a:t>
            </a:r>
            <a:endParaRPr lang="sr-Latn-RS" dirty="0"/>
          </a:p>
        </p:txBody>
      </p:sp>
      <p:sp>
        <p:nvSpPr>
          <p:cNvPr id="17" name="Rounded Rectangle 16"/>
          <p:cNvSpPr/>
          <p:nvPr/>
        </p:nvSpPr>
        <p:spPr>
          <a:xfrm>
            <a:off x="568776" y="4297136"/>
            <a:ext cx="2971801" cy="6096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заштити природе</a:t>
            </a:r>
            <a:endParaRPr lang="sr-Latn-RS" dirty="0"/>
          </a:p>
        </p:txBody>
      </p:sp>
      <p:sp>
        <p:nvSpPr>
          <p:cNvPr id="18" name="Rounded Rectangle 17"/>
          <p:cNvSpPr/>
          <p:nvPr/>
        </p:nvSpPr>
        <p:spPr>
          <a:xfrm>
            <a:off x="4541490" y="1875065"/>
            <a:ext cx="2971801" cy="6096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планирању и изградњи</a:t>
            </a:r>
            <a:endParaRPr lang="sr-Latn-RS" dirty="0"/>
          </a:p>
        </p:txBody>
      </p:sp>
      <p:sp>
        <p:nvSpPr>
          <p:cNvPr id="19" name="Rounded Rectangle 18"/>
          <p:cNvSpPr/>
          <p:nvPr/>
        </p:nvSpPr>
        <p:spPr>
          <a:xfrm>
            <a:off x="4645476" y="4220936"/>
            <a:ext cx="2971801" cy="6096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комуналним делатностима</a:t>
            </a:r>
            <a:endParaRPr lang="sr-Latn-RS" dirty="0"/>
          </a:p>
        </p:txBody>
      </p:sp>
      <p:sp>
        <p:nvSpPr>
          <p:cNvPr id="20" name="Rounded Rectangle 19"/>
          <p:cNvSpPr/>
          <p:nvPr/>
        </p:nvSpPr>
        <p:spPr>
          <a:xfrm>
            <a:off x="8760278" y="1774372"/>
            <a:ext cx="2971801" cy="541564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јавним предузећима</a:t>
            </a:r>
            <a:endParaRPr lang="sr-Latn-RS" dirty="0"/>
          </a:p>
        </p:txBody>
      </p:sp>
      <p:sp>
        <p:nvSpPr>
          <p:cNvPr id="21" name="Rounded Rectangle 20"/>
          <p:cNvSpPr/>
          <p:nvPr/>
        </p:nvSpPr>
        <p:spPr>
          <a:xfrm>
            <a:off x="8787490" y="2397578"/>
            <a:ext cx="2971801" cy="478971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јавној својини</a:t>
            </a:r>
            <a:endParaRPr lang="sr-Latn-RS" dirty="0"/>
          </a:p>
        </p:txBody>
      </p:sp>
      <p:sp>
        <p:nvSpPr>
          <p:cNvPr id="22" name="Rounded Rectangle 21"/>
          <p:cNvSpPr/>
          <p:nvPr/>
        </p:nvSpPr>
        <p:spPr>
          <a:xfrm>
            <a:off x="8787492" y="3004457"/>
            <a:ext cx="2971801" cy="4953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јавним набавкама</a:t>
            </a:r>
            <a:endParaRPr lang="sr-Latn-RS" dirty="0"/>
          </a:p>
        </p:txBody>
      </p:sp>
      <p:sp>
        <p:nvSpPr>
          <p:cNvPr id="23" name="Rounded Rectangle 22"/>
          <p:cNvSpPr/>
          <p:nvPr/>
        </p:nvSpPr>
        <p:spPr>
          <a:xfrm>
            <a:off x="8787492" y="3668486"/>
            <a:ext cx="2971801" cy="55245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облигационим односима</a:t>
            </a:r>
            <a:endParaRPr lang="sr-Latn-RS" dirty="0"/>
          </a:p>
        </p:txBody>
      </p:sp>
      <p:sp>
        <p:nvSpPr>
          <p:cNvPr id="24" name="Rounded Rectangle 23"/>
          <p:cNvSpPr/>
          <p:nvPr/>
        </p:nvSpPr>
        <p:spPr>
          <a:xfrm>
            <a:off x="8787491" y="4325711"/>
            <a:ext cx="2971801" cy="55245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r-Cyrl-RS" dirty="0" smtClean="0"/>
              <a:t>Закон о контроли државне помоћи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13274090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Master 16x9">
  <a:themeElements>
    <a:clrScheme name="Banded_Design_Blue">
      <a:dk1>
        <a:srgbClr val="404040"/>
      </a:dk1>
      <a:lt1>
        <a:sysClr val="window" lastClr="FFFFFF"/>
      </a:lt1>
      <a:dk2>
        <a:srgbClr val="263050"/>
      </a:dk2>
      <a:lt2>
        <a:srgbClr val="E5E8E8"/>
      </a:lt2>
      <a:accent1>
        <a:srgbClr val="77B142"/>
      </a:accent1>
      <a:accent2>
        <a:srgbClr val="E3C01E"/>
      </a:accent2>
      <a:accent3>
        <a:srgbClr val="0070C0"/>
      </a:accent3>
      <a:accent4>
        <a:srgbClr val="7556A4"/>
      </a:accent4>
      <a:accent5>
        <a:srgbClr val="F08F1E"/>
      </a:accent5>
      <a:accent6>
        <a:srgbClr val="CB3E3A"/>
      </a:accent6>
      <a:hlink>
        <a:srgbClr val="0070C0"/>
      </a:hlink>
      <a:folHlink>
        <a:srgbClr val="7556A4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lumMod val="0"/>
                <a:lumOff val="100000"/>
              </a:schemeClr>
            </a:gs>
            <a:gs pos="72000">
              <a:schemeClr val="phClr"/>
            </a:gs>
            <a:gs pos="100000">
              <a:schemeClr val="phClr">
                <a:lumMod val="90000"/>
              </a:schemeClr>
            </a:gs>
          </a:gsLst>
          <a:lin ang="5400000" scaled="1"/>
        </a:gradFill>
        <a:gradFill flip="none" rotWithShape="1">
          <a:gsLst>
            <a:gs pos="32000">
              <a:schemeClr val="phClr"/>
            </a:gs>
            <a:gs pos="100000">
              <a:schemeClr val="phClr">
                <a:lumMod val="75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Banded_Design_Teal">
      <a:dk1>
        <a:srgbClr val="363D3D"/>
      </a:dk1>
      <a:lt1>
        <a:sysClr val="window" lastClr="FFFFFF"/>
      </a:lt1>
      <a:dk2>
        <a:srgbClr val="000000"/>
      </a:dk2>
      <a:lt2>
        <a:srgbClr val="E5E8E8"/>
      </a:lt2>
      <a:accent1>
        <a:srgbClr val="3AAFB2"/>
      </a:accent1>
      <a:accent2>
        <a:srgbClr val="6ABD45"/>
      </a:accent2>
      <a:accent3>
        <a:srgbClr val="EBCA21"/>
      </a:accent3>
      <a:accent4>
        <a:srgbClr val="EB8D21"/>
      </a:accent4>
      <a:accent5>
        <a:srgbClr val="EB5638"/>
      </a:accent5>
      <a:accent6>
        <a:srgbClr val="5172B1"/>
      </a:accent6>
      <a:hlink>
        <a:srgbClr val="3A9CDB"/>
      </a:hlink>
      <a:folHlink>
        <a:srgbClr val="5172B1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nded_Design_Teal">
      <a:dk1>
        <a:srgbClr val="363D3D"/>
      </a:dk1>
      <a:lt1>
        <a:sysClr val="window" lastClr="FFFFFF"/>
      </a:lt1>
      <a:dk2>
        <a:srgbClr val="000000"/>
      </a:dk2>
      <a:lt2>
        <a:srgbClr val="E5E8E8"/>
      </a:lt2>
      <a:accent1>
        <a:srgbClr val="3AAFB2"/>
      </a:accent1>
      <a:accent2>
        <a:srgbClr val="6ABD45"/>
      </a:accent2>
      <a:accent3>
        <a:srgbClr val="EBCA21"/>
      </a:accent3>
      <a:accent4>
        <a:srgbClr val="EB8D21"/>
      </a:accent4>
      <a:accent5>
        <a:srgbClr val="EB5638"/>
      </a:accent5>
      <a:accent6>
        <a:srgbClr val="5172B1"/>
      </a:accent6>
      <a:hlink>
        <a:srgbClr val="3A9CDB"/>
      </a:hlink>
      <a:folHlink>
        <a:srgbClr val="5172B1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57000"/>
                <a:satMod val="101000"/>
              </a:schemeClr>
            </a:gs>
            <a:gs pos="50000">
              <a:schemeClr val="phClr">
                <a:lumMod val="137000"/>
                <a:satMod val="103000"/>
              </a:schemeClr>
            </a:gs>
            <a:gs pos="100000">
              <a:schemeClr val="phClr">
                <a:lumMod val="115000"/>
                <a:satMod val="109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18000"/>
              </a:schemeClr>
            </a:gs>
            <a:gs pos="50000">
              <a:schemeClr val="phClr">
                <a:satMod val="89000"/>
                <a:lumMod val="91000"/>
              </a:schemeClr>
            </a:gs>
            <a:gs pos="100000">
              <a:schemeClr val="phClr">
                <a:lumMod val="6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atMod val="100000"/>
                <a:shade val="0"/>
              </a:schemeClr>
            </a:gs>
            <a:gs pos="0">
              <a:scrgbClr r="0" g="0" b="0"/>
            </a:gs>
            <a:gs pos="100000">
              <a:schemeClr val="phClr">
                <a:shade val="100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21</Words>
  <Application>Microsoft Office PowerPoint</Application>
  <PresentationFormat>Custom</PresentationFormat>
  <Paragraphs>235</Paragraphs>
  <Slides>20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EPS Master 16x9</vt:lpstr>
      <vt:lpstr>think-cell Slide</vt:lpstr>
      <vt:lpstr>Угаљ – стабилан ослонац енергетике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ХВAЛA НA ПAЖЊИ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9-15T12:49:51Z</dcterms:created>
  <dcterms:modified xsi:type="dcterms:W3CDTF">2018-04-16T20:11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172719991</vt:lpwstr>
  </property>
</Properties>
</file>